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8" r:id="rId2"/>
  </p:sldMasterIdLst>
  <p:notesMasterIdLst>
    <p:notesMasterId r:id="rId13"/>
  </p:notesMasterIdLst>
  <p:handoutMasterIdLst>
    <p:handoutMasterId r:id="rId14"/>
  </p:handoutMasterIdLst>
  <p:sldIdLst>
    <p:sldId id="602" r:id="rId3"/>
    <p:sldId id="605" r:id="rId4"/>
    <p:sldId id="603" r:id="rId5"/>
    <p:sldId id="613" r:id="rId6"/>
    <p:sldId id="607" r:id="rId7"/>
    <p:sldId id="608" r:id="rId8"/>
    <p:sldId id="609" r:id="rId9"/>
    <p:sldId id="610" r:id="rId10"/>
    <p:sldId id="611" r:id="rId11"/>
    <p:sldId id="541" r:id="rId12"/>
  </p:sldIdLst>
  <p:sldSz cx="12190413" cy="6859588"/>
  <p:notesSz cx="6858000" cy="9144000"/>
  <p:custDataLst>
    <p:tags r:id="rId15"/>
  </p:custDataLst>
  <p:defaultTextStyle>
    <a:defPPr>
      <a:defRPr lang="de-DE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25">
          <p15:clr>
            <a:srgbClr val="A4A3A4"/>
          </p15:clr>
        </p15:guide>
        <p15:guide id="2" orient="horz" pos="4013">
          <p15:clr>
            <a:srgbClr val="A4A3A4"/>
          </p15:clr>
        </p15:guide>
        <p15:guide id="3" orient="horz" pos="484">
          <p15:clr>
            <a:srgbClr val="A4A3A4"/>
          </p15:clr>
        </p15:guide>
        <p15:guide id="4" orient="horz" pos="802">
          <p15:clr>
            <a:srgbClr val="A4A3A4"/>
          </p15:clr>
        </p15:guide>
        <p15:guide id="5" orient="horz" pos="1608">
          <p15:clr>
            <a:srgbClr val="A4A3A4"/>
          </p15:clr>
        </p15:guide>
        <p15:guide id="6" orient="horz">
          <p15:clr>
            <a:srgbClr val="A4A3A4"/>
          </p15:clr>
        </p15:guide>
        <p15:guide id="7" orient="horz" pos="165">
          <p15:clr>
            <a:srgbClr val="A4A3A4"/>
          </p15:clr>
        </p15:guide>
        <p15:guide id="8" orient="horz" pos="4170">
          <p15:clr>
            <a:srgbClr val="A4A3A4"/>
          </p15:clr>
        </p15:guide>
        <p15:guide id="9" orient="horz" pos="2886">
          <p15:clr>
            <a:srgbClr val="A4A3A4"/>
          </p15:clr>
        </p15:guide>
        <p15:guide id="10" orient="horz" pos="964">
          <p15:clr>
            <a:srgbClr val="A4A3A4"/>
          </p15:clr>
        </p15:guide>
        <p15:guide id="11" orient="horz" pos="3053">
          <p15:clr>
            <a:srgbClr val="A4A3A4"/>
          </p15:clr>
        </p15:guide>
        <p15:guide id="12" orient="horz" pos="1131">
          <p15:clr>
            <a:srgbClr val="A4A3A4"/>
          </p15:clr>
        </p15:guide>
        <p15:guide id="13" orient="horz" pos="2723">
          <p15:clr>
            <a:srgbClr val="A4A3A4"/>
          </p15:clr>
        </p15:guide>
        <p15:guide id="14" orient="horz" pos="1280">
          <p15:clr>
            <a:srgbClr val="A4A3A4"/>
          </p15:clr>
        </p15:guide>
        <p15:guide id="15" orient="horz" pos="3850">
          <p15:clr>
            <a:srgbClr val="A4A3A4"/>
          </p15:clr>
        </p15:guide>
        <p15:guide id="16" orient="horz" pos="3685">
          <p15:clr>
            <a:srgbClr val="A4A3A4"/>
          </p15:clr>
        </p15:guide>
        <p15:guide id="17" orient="horz" pos="3530">
          <p15:clr>
            <a:srgbClr val="A4A3A4"/>
          </p15:clr>
        </p15:guide>
        <p15:guide id="18" orient="horz" pos="3370">
          <p15:clr>
            <a:srgbClr val="A4A3A4"/>
          </p15:clr>
        </p15:guide>
        <p15:guide id="19" orient="horz" pos="3206">
          <p15:clr>
            <a:srgbClr val="A4A3A4"/>
          </p15:clr>
        </p15:guide>
        <p15:guide id="20" orient="horz" pos="2570">
          <p15:clr>
            <a:srgbClr val="A4A3A4"/>
          </p15:clr>
        </p15:guide>
        <p15:guide id="21" orient="horz" pos="2407">
          <p15:clr>
            <a:srgbClr val="A4A3A4"/>
          </p15:clr>
        </p15:guide>
        <p15:guide id="22" orient="horz" pos="1924">
          <p15:clr>
            <a:srgbClr val="A4A3A4"/>
          </p15:clr>
        </p15:guide>
        <p15:guide id="23" orient="horz" pos="1767">
          <p15:clr>
            <a:srgbClr val="A4A3A4"/>
          </p15:clr>
        </p15:guide>
        <p15:guide id="24" orient="horz" pos="1447">
          <p15:clr>
            <a:srgbClr val="A4A3A4"/>
          </p15:clr>
        </p15:guide>
        <p15:guide id="25" orient="horz" pos="649">
          <p15:clr>
            <a:srgbClr val="A4A3A4"/>
          </p15:clr>
        </p15:guide>
        <p15:guide id="26" orient="horz" pos="2084">
          <p15:clr>
            <a:srgbClr val="A4A3A4"/>
          </p15:clr>
        </p15:guide>
        <p15:guide id="27" orient="horz" pos="2243">
          <p15:clr>
            <a:srgbClr val="A4A3A4"/>
          </p15:clr>
        </p15:guide>
        <p15:guide id="28" pos="3840">
          <p15:clr>
            <a:srgbClr val="A4A3A4"/>
          </p15:clr>
        </p15:guide>
        <p15:guide id="29" pos="320">
          <p15:clr>
            <a:srgbClr val="A4A3A4"/>
          </p15:clr>
        </p15:guide>
        <p15:guide id="30" pos="7367">
          <p15:clr>
            <a:srgbClr val="A4A3A4"/>
          </p15:clr>
        </p15:guide>
        <p15:guide id="31" pos="7043">
          <p15:clr>
            <a:srgbClr val="A4A3A4"/>
          </p15:clr>
        </p15:guide>
        <p15:guide id="32" pos="6562">
          <p15:clr>
            <a:srgbClr val="A4A3A4"/>
          </p15:clr>
        </p15:guide>
        <p15:guide id="33">
          <p15:clr>
            <a:srgbClr val="A4A3A4"/>
          </p15:clr>
        </p15:guide>
        <p15:guide id="34" pos="6083">
          <p15:clr>
            <a:srgbClr val="A4A3A4"/>
          </p15:clr>
        </p15:guide>
        <p15:guide id="35" pos="167">
          <p15:clr>
            <a:srgbClr val="A4A3A4"/>
          </p15:clr>
        </p15:guide>
        <p15:guide id="36" pos="7520">
          <p15:clr>
            <a:srgbClr val="A4A3A4"/>
          </p15:clr>
        </p15:guide>
        <p15:guide id="37" pos="2568">
          <p15:clr>
            <a:srgbClr val="A4A3A4"/>
          </p15:clr>
        </p15:guide>
        <p15:guide id="38" pos="2406">
          <p15:clr>
            <a:srgbClr val="A4A3A4"/>
          </p15:clr>
        </p15:guide>
        <p15:guide id="39" pos="2717">
          <p15:clr>
            <a:srgbClr val="A4A3A4"/>
          </p15:clr>
        </p15:guide>
        <p15:guide id="40" pos="2884">
          <p15:clr>
            <a:srgbClr val="A4A3A4"/>
          </p15:clr>
        </p15:guide>
        <p15:guide id="41" pos="3050">
          <p15:clr>
            <a:srgbClr val="A4A3A4"/>
          </p15:clr>
        </p15:guide>
        <p15:guide id="42" pos="3204">
          <p15:clr>
            <a:srgbClr val="A4A3A4"/>
          </p15:clr>
        </p15:guide>
        <p15:guide id="43" pos="3361">
          <p15:clr>
            <a:srgbClr val="A4A3A4"/>
          </p15:clr>
        </p15:guide>
        <p15:guide id="44" pos="3528">
          <p15:clr>
            <a:srgbClr val="A4A3A4"/>
          </p15:clr>
        </p15:guide>
        <p15:guide id="45" pos="4005">
          <p15:clr>
            <a:srgbClr val="A4A3A4"/>
          </p15:clr>
        </p15:guide>
        <p15:guide id="46" pos="4159">
          <p15:clr>
            <a:srgbClr val="A4A3A4"/>
          </p15:clr>
        </p15:guide>
        <p15:guide id="47" pos="4321">
          <p15:clr>
            <a:srgbClr val="A4A3A4"/>
          </p15:clr>
        </p15:guide>
        <p15:guide id="48" pos="4483">
          <p15:clr>
            <a:srgbClr val="A4A3A4"/>
          </p15:clr>
        </p15:guide>
        <p15:guide id="49" pos="5601">
          <p15:clr>
            <a:srgbClr val="A4A3A4"/>
          </p15:clr>
        </p15:guide>
        <p15:guide id="50" pos="5763">
          <p15:clr>
            <a:srgbClr val="A4A3A4"/>
          </p15:clr>
        </p15:guide>
        <p15:guide id="51" pos="5926">
          <p15:clr>
            <a:srgbClr val="A4A3A4"/>
          </p15:clr>
        </p15:guide>
        <p15:guide id="52" pos="6246">
          <p15:clr>
            <a:srgbClr val="A4A3A4"/>
          </p15:clr>
        </p15:guide>
        <p15:guide id="53" pos="6406">
          <p15:clr>
            <a:srgbClr val="A4A3A4"/>
          </p15:clr>
        </p15:guide>
        <p15:guide id="54" pos="7203">
          <p15:clr>
            <a:srgbClr val="A4A3A4"/>
          </p15:clr>
        </p15:guide>
        <p15:guide id="55" pos="6718">
          <p15:clr>
            <a:srgbClr val="A4A3A4"/>
          </p15:clr>
        </p15:guide>
        <p15:guide id="56" pos="6884">
          <p15:clr>
            <a:srgbClr val="A4A3A4"/>
          </p15:clr>
        </p15:guide>
        <p15:guide id="57" pos="5447">
          <p15:clr>
            <a:srgbClr val="A4A3A4"/>
          </p15:clr>
        </p15:guide>
        <p15:guide id="58" pos="5282">
          <p15:clr>
            <a:srgbClr val="A4A3A4"/>
          </p15:clr>
        </p15:guide>
        <p15:guide id="59" pos="5119">
          <p15:clr>
            <a:srgbClr val="A4A3A4"/>
          </p15:clr>
        </p15:guide>
        <p15:guide id="60" pos="4961">
          <p15:clr>
            <a:srgbClr val="A4A3A4"/>
          </p15:clr>
        </p15:guide>
        <p15:guide id="61" pos="4803">
          <p15:clr>
            <a:srgbClr val="A4A3A4"/>
          </p15:clr>
        </p15:guide>
        <p15:guide id="62" pos="4637">
          <p15:clr>
            <a:srgbClr val="A4A3A4"/>
          </p15:clr>
        </p15:guide>
        <p15:guide id="63" pos="487">
          <p15:clr>
            <a:srgbClr val="A4A3A4"/>
          </p15:clr>
        </p15:guide>
        <p15:guide id="64" pos="644">
          <p15:clr>
            <a:srgbClr val="A4A3A4"/>
          </p15:clr>
        </p15:guide>
        <p15:guide id="65" pos="801">
          <p15:clr>
            <a:srgbClr val="A4A3A4"/>
          </p15:clr>
        </p15:guide>
        <p15:guide id="66" pos="967">
          <p15:clr>
            <a:srgbClr val="A4A3A4"/>
          </p15:clr>
        </p15:guide>
        <p15:guide id="67" pos="1120">
          <p15:clr>
            <a:srgbClr val="A4A3A4"/>
          </p15:clr>
        </p15:guide>
        <p15:guide id="68" pos="1281">
          <p15:clr>
            <a:srgbClr val="A4A3A4"/>
          </p15:clr>
        </p15:guide>
        <p15:guide id="69" pos="1442">
          <p15:clr>
            <a:srgbClr val="A4A3A4"/>
          </p15:clr>
        </p15:guide>
        <p15:guide id="70" pos="1609">
          <p15:clr>
            <a:srgbClr val="A4A3A4"/>
          </p15:clr>
        </p15:guide>
        <p15:guide id="71" pos="1762">
          <p15:clr>
            <a:srgbClr val="A4A3A4"/>
          </p15:clr>
        </p15:guide>
        <p15:guide id="72" pos="1924">
          <p15:clr>
            <a:srgbClr val="A4A3A4"/>
          </p15:clr>
        </p15:guide>
        <p15:guide id="73" pos="2085">
          <p15:clr>
            <a:srgbClr val="A4A3A4"/>
          </p15:clr>
        </p15:guide>
        <p15:guide id="74" pos="2244">
          <p15:clr>
            <a:srgbClr val="A4A3A4"/>
          </p15:clr>
        </p15:guide>
        <p15:guide id="75" pos="3682">
          <p15:clr>
            <a:srgbClr val="A4A3A4"/>
          </p15:clr>
        </p15:guide>
        <p15:guide id="76" orient="horz" pos="970">
          <p15:clr>
            <a:srgbClr val="A4A3A4"/>
          </p15:clr>
        </p15:guide>
        <p15:guide id="77" pos="7678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BD2F9"/>
    <a:srgbClr val="64CAF8"/>
    <a:srgbClr val="C1EBFB"/>
    <a:srgbClr val="F1F9FA"/>
    <a:srgbClr val="EFF6EE"/>
    <a:srgbClr val="FAF7EF"/>
    <a:srgbClr val="F9F2EF"/>
    <a:srgbClr val="EFE8E6"/>
    <a:srgbClr val="E1CFEA"/>
    <a:srgbClr val="EBE1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0650" autoAdjust="0"/>
    <p:restoredTop sz="78268" autoAdjust="0"/>
  </p:normalViewPr>
  <p:slideViewPr>
    <p:cSldViewPr>
      <p:cViewPr>
        <p:scale>
          <a:sx n="33" d="100"/>
          <a:sy n="33" d="100"/>
        </p:scale>
        <p:origin x="-2736" y="-966"/>
      </p:cViewPr>
      <p:guideLst>
        <p:guide orient="horz" pos="325"/>
        <p:guide orient="horz" pos="4013"/>
        <p:guide orient="horz" pos="484"/>
        <p:guide orient="horz" pos="802"/>
        <p:guide orient="horz"/>
        <p:guide orient="horz" pos="164"/>
        <p:guide orient="horz" pos="4170"/>
        <p:guide orient="horz" pos="970"/>
        <p:guide orient="horz" pos="4320"/>
        <p:guide pos="3840"/>
        <p:guide pos="7367"/>
        <p:guide/>
        <p:guide pos="167"/>
        <p:guide pos="7520"/>
        <p:guide pos="5601"/>
        <p:guide pos="2085"/>
        <p:guide pos="7678"/>
      </p:guideLst>
    </p:cSldViewPr>
  </p:slideViewPr>
  <p:outlineViewPr>
    <p:cViewPr>
      <p:scale>
        <a:sx n="33" d="100"/>
        <a:sy n="33" d="100"/>
      </p:scale>
      <p:origin x="0" y="3324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98" d="100"/>
          <a:sy n="98" d="100"/>
        </p:scale>
        <p:origin x="-356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1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82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4D9B6F-F621-4A62-84F4-5FFAE9A4C545}" type="datetimeFigureOut">
              <a:rPr lang="en-GB" smtClean="0"/>
              <a:t>16/07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46A6A2-50A7-4640-855D-8956E55ABAC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20660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789E00-45B7-44B8-8E59-84DE0BD71A0D}" type="datetimeFigureOut">
              <a:rPr lang="de-DE" smtClean="0"/>
              <a:t>16.07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7F3CE7-ED39-4DCA-B997-3091546AA5B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14327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6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gitization1 has made the applications</a:t>
            </a:r>
          </a:p>
          <a:p>
            <a:r>
              <a:rPr lang="en-GB" sz="16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rtfolio both more complex and more</a:t>
            </a:r>
          </a:p>
          <a:p>
            <a:r>
              <a:rPr lang="en-GB" sz="16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entral to the delivery of business value.</a:t>
            </a:r>
          </a:p>
          <a:p>
            <a:endParaRPr lang="en-GB" sz="1600" b="1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GB" sz="16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ift 1—From process automation to productivity</a:t>
            </a:r>
          </a:p>
          <a:p>
            <a:r>
              <a:rPr lang="en-GB" sz="16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revenue generation</a:t>
            </a:r>
          </a:p>
          <a:p>
            <a:endParaRPr lang="en-GB" sz="16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GB" sz="16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ift 2—From central applications ownership to</a:t>
            </a:r>
          </a:p>
          <a:p>
            <a:r>
              <a:rPr lang="en-GB" sz="16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ographically distributed ownership</a:t>
            </a:r>
          </a:p>
          <a:p>
            <a:endParaRPr lang="en-GB" sz="16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GB" sz="16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ift 3—From large-scale projects to iterative</a:t>
            </a:r>
          </a:p>
          <a:p>
            <a:r>
              <a:rPr lang="en-GB" sz="16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leases and enhancements – </a:t>
            </a:r>
            <a:r>
              <a:rPr lang="en-GB" sz="16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equenct</a:t>
            </a:r>
            <a:r>
              <a:rPr lang="en-GB" sz="16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hang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7F3CE7-ED39-4DCA-B997-3091546AA5B2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61568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oard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6929"/>
            <a:ext cx="4841875" cy="4574596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5843102"/>
            <a:ext cx="2034974" cy="508928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821113"/>
            <a:ext cx="4069756" cy="1528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600" b="0" kern="1200" cap="none" baseline="0" noProof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buAutoNum type="arabicParenR"/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4" hasCustomPrompt="1"/>
          </p:nvPr>
        </p:nvSpPr>
        <p:spPr>
          <a:xfrm>
            <a:off x="6094413" y="515938"/>
            <a:ext cx="5600700" cy="5835650"/>
          </a:xfrm>
          <a:prstGeom prst="rect">
            <a:avLst/>
          </a:prstGeom>
        </p:spPr>
        <p:txBody>
          <a:bodyPr anchor="ctr"/>
          <a:lstStyle>
            <a:lvl1pPr algn="ctr">
              <a:defRPr sz="2000"/>
            </a:lvl1pPr>
          </a:lstStyle>
          <a:p>
            <a:r>
              <a:rPr lang="de-AT" dirty="0"/>
              <a:t>Table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5" y="765498"/>
            <a:ext cx="5588066" cy="768350"/>
          </a:xfrm>
        </p:spPr>
        <p:txBody>
          <a:bodyPr/>
          <a:lstStyle>
            <a:lvl1pPr>
              <a:defRPr lang="en-GB" sz="4400" b="1" kern="1200" cap="all" baseline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Rechteck 2"/>
          <p:cNvSpPr/>
          <p:nvPr/>
        </p:nvSpPr>
        <p:spPr>
          <a:xfrm>
            <a:off x="291932" y="6373192"/>
            <a:ext cx="1914842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3302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-1" y="0"/>
            <a:ext cx="12190413" cy="6859588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pic>
        <p:nvPicPr>
          <p:cNvPr id="6" name="Grafik 8"/>
          <p:cNvPicPr>
            <a:picLocks noChangeAspect="1"/>
          </p:cNvPicPr>
          <p:nvPr/>
        </p:nvPicPr>
        <p:blipFill>
          <a:blip r:embed="rId2">
            <a:alphaModFix amt="4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095207" y="550109"/>
            <a:ext cx="6095206" cy="63094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5113" y="2552700"/>
            <a:ext cx="4173909" cy="3297004"/>
          </a:xfrm>
        </p:spPr>
        <p:txBody>
          <a:bodyPr lIns="144000" tIns="216000" rIns="0" anchor="t"/>
          <a:lstStyle>
            <a:lvl1pPr>
              <a:defRPr lang="de-DE" sz="200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00</a:t>
            </a:r>
            <a:br>
              <a:rPr lang="en-GB" noProof="0" dirty="0"/>
            </a:br>
            <a:endParaRPr lang="en-GB" noProof="0" dirty="0"/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7618413" cy="2538412"/>
          </a:xfrm>
          <a:prstGeom prst="rect">
            <a:avLst/>
          </a:prstGeom>
        </p:spPr>
        <p:txBody>
          <a:bodyPr tIns="0" bIns="180000" anchor="b">
            <a:normAutofit/>
          </a:bodyPr>
          <a:lstStyle>
            <a:lvl1pPr marL="0" algn="l" defTabSz="1219170" rtl="0" eaLnBrk="1" latinLnBrk="0" hangingPunct="1">
              <a:defRPr lang="de-DE" sz="36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970451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-1" y="0"/>
            <a:ext cx="12190413" cy="6859588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pic>
        <p:nvPicPr>
          <p:cNvPr id="7" name="Grafik 8"/>
          <p:cNvPicPr>
            <a:picLocks noChangeAspect="1"/>
          </p:cNvPicPr>
          <p:nvPr/>
        </p:nvPicPr>
        <p:blipFill>
          <a:blip r:embed="rId2">
            <a:alphaModFix amt="4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095207" y="550109"/>
            <a:ext cx="6095206" cy="6309480"/>
          </a:xfrm>
          <a:prstGeom prst="rect">
            <a:avLst/>
          </a:prstGeom>
        </p:spPr>
      </p:pic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7618413" cy="2538412"/>
          </a:xfrm>
          <a:prstGeom prst="rect">
            <a:avLst/>
          </a:prstGeom>
        </p:spPr>
        <p:txBody>
          <a:bodyPr tIns="0" bIns="180000" anchor="b"/>
          <a:lstStyle>
            <a:lvl1pPr marL="0" algn="l" defTabSz="1219170" rtl="0" eaLnBrk="1" latinLnBrk="0" hangingPunct="1">
              <a:defRPr lang="de-DE" sz="36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3560763"/>
            <a:ext cx="5294312" cy="255111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01</a:t>
            </a:r>
          </a:p>
          <a:p>
            <a:pPr lvl="1"/>
            <a:r>
              <a:rPr lang="de-DE" dirty="0"/>
              <a:t>02</a:t>
            </a:r>
          </a:p>
          <a:p>
            <a:pPr lvl="2"/>
            <a:r>
              <a:rPr lang="de-DE" dirty="0"/>
              <a:t>03</a:t>
            </a:r>
          </a:p>
          <a:p>
            <a:pPr lvl="3"/>
            <a:r>
              <a:rPr lang="de-DE" dirty="0"/>
              <a:t>04</a:t>
            </a:r>
          </a:p>
          <a:p>
            <a:pPr lvl="4"/>
            <a:r>
              <a:rPr lang="de-DE" dirty="0"/>
              <a:t>05</a:t>
            </a:r>
          </a:p>
          <a:p>
            <a:pPr lvl="5"/>
            <a:r>
              <a:rPr lang="de-DE" dirty="0"/>
              <a:t>06</a:t>
            </a:r>
          </a:p>
          <a:p>
            <a:pPr lvl="6"/>
            <a:r>
              <a:rPr lang="de-DE" dirty="0"/>
              <a:t>07</a:t>
            </a:r>
          </a:p>
          <a:p>
            <a:pPr lvl="7"/>
            <a:r>
              <a:rPr lang="de-DE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2214030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one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1" y="1530350"/>
            <a:ext cx="11187182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16/07/2019</a:t>
            </a:fld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2352321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y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1" y="1273176"/>
            <a:ext cx="11187182" cy="5097350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4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6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16/07/2019</a:t>
            </a:fld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3928837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10540" y="766800"/>
            <a:ext cx="3063240" cy="2034540"/>
          </a:xfrm>
        </p:spPr>
        <p:txBody>
          <a:bodyPr/>
          <a:lstStyle>
            <a:lvl1pPr>
              <a:defRPr lang="en-GB" sz="4400" b="1" kern="1200" cap="all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16/07/2019</a:t>
            </a:fld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4386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2/3 Ae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3562349" y="1273175"/>
            <a:ext cx="8132764" cy="483870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7935" y="768349"/>
            <a:ext cx="3054415" cy="331152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16/07/2019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5105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2/3 Aerea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3562349" y="1273175"/>
            <a:ext cx="3943351" cy="483870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7734300" y="1273175"/>
            <a:ext cx="3924000" cy="483870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7935" y="768349"/>
            <a:ext cx="3054415" cy="331152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16/07/2019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4735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Tw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507931" y="1530350"/>
            <a:ext cx="5515267" cy="4581526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6164579" y="1530350"/>
            <a:ext cx="5529075" cy="4581526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16/07/2019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11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27245746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platzhalter 23"/>
          <p:cNvSpPr>
            <a:spLocks noGrp="1"/>
          </p:cNvSpPr>
          <p:nvPr>
            <p:ph type="body" sz="quarter" idx="22"/>
          </p:nvPr>
        </p:nvSpPr>
        <p:spPr>
          <a:xfrm>
            <a:off x="0" y="2265277"/>
            <a:ext cx="5599971" cy="3584426"/>
          </a:xfr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7934" y="1030289"/>
            <a:ext cx="4333941" cy="2278062"/>
          </a:xfrm>
        </p:spPr>
        <p:txBody>
          <a:bodyPr anchor="b"/>
          <a:lstStyle>
            <a:lvl1pPr>
              <a:defRPr sz="4400"/>
            </a:lvl1pPr>
          </a:lstStyle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508000" y="3821113"/>
            <a:ext cx="4333875" cy="254952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1030288"/>
            <a:ext cx="5599113" cy="4819650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01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16/07/2019</a:t>
            </a:fld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 noProof="0" dirty="0"/>
              <a:t>File name | department | Author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8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1342069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23"/>
          </p:nvPr>
        </p:nvSpPr>
        <p:spPr>
          <a:xfrm>
            <a:off x="0" y="2265277"/>
            <a:ext cx="5599971" cy="3584426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7934" y="1030289"/>
            <a:ext cx="4333941" cy="2278062"/>
          </a:xfrm>
        </p:spPr>
        <p:txBody>
          <a:bodyPr anchor="b"/>
          <a:lstStyle>
            <a:lvl1pPr>
              <a:defRPr sz="4400"/>
            </a:lvl1pPr>
          </a:lstStyle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508000" y="3821113"/>
            <a:ext cx="4333875" cy="254952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5845175" y="1030288"/>
            <a:ext cx="5849938" cy="5081587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GB" dirty="0"/>
              <a:t>New Image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16/07/2019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1387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oard Presentatio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6929"/>
            <a:ext cx="4841875" cy="4574596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821113"/>
            <a:ext cx="4069756" cy="152876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600" b="0" kern="1200" cap="none" baseline="0" noProof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4" y="765498"/>
            <a:ext cx="7367653" cy="768350"/>
          </a:xfrm>
        </p:spPr>
        <p:txBody>
          <a:bodyPr/>
          <a:lstStyle>
            <a:lvl1pPr>
              <a:defRPr lang="en-GB" sz="4400" b="1" kern="1200" cap="all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4" hasCustomPrompt="1"/>
          </p:nvPr>
        </p:nvSpPr>
        <p:spPr>
          <a:xfrm>
            <a:off x="4841875" y="0"/>
            <a:ext cx="7348538" cy="5349875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GB" dirty="0"/>
              <a:t>New Picture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291932" y="6373192"/>
            <a:ext cx="2058858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540" y="6010189"/>
            <a:ext cx="2034974" cy="227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040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copy And Image - Variant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7935" y="765498"/>
            <a:ext cx="5587272" cy="2304255"/>
          </a:xfrm>
        </p:spPr>
        <p:txBody>
          <a:bodyPr/>
          <a:lstStyle>
            <a:lvl1pPr>
              <a:defRPr lang="en-GB" sz="4400" b="1" kern="1200" cap="all" baseline="0" dirty="0">
                <a:solidFill>
                  <a:srgbClr val="5A398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952500"/>
            <a:ext cx="6094412" cy="590708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6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1" y="3560762"/>
            <a:ext cx="5587204" cy="2288941"/>
          </a:xfrm>
          <a:prstGeom prst="rect">
            <a:avLst/>
          </a:prstGeom>
        </p:spPr>
        <p:txBody>
          <a:bodyPr rIns="180000"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8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8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4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400">
                <a:solidFill>
                  <a:schemeClr val="tx1"/>
                </a:solidFill>
              </a:defRPr>
            </a:lvl6pPr>
            <a:lvl7pPr>
              <a:lnSpc>
                <a:spcPct val="100000"/>
              </a:lnSpc>
              <a:defRPr sz="1200">
                <a:solidFill>
                  <a:schemeClr val="tx1"/>
                </a:solidFill>
              </a:defRPr>
            </a:lvl7pPr>
            <a:lvl8pPr>
              <a:lnSpc>
                <a:spcPct val="100000"/>
              </a:lnSpc>
              <a:defRPr sz="1050">
                <a:solidFill>
                  <a:schemeClr val="tx1"/>
                </a:solidFill>
              </a:defRPr>
            </a:lvl8pPr>
            <a:lvl9pPr>
              <a:lnSpc>
                <a:spcPct val="100000"/>
              </a:lnSpc>
              <a:defRPr sz="7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16/07/2019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406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1" y="1530350"/>
            <a:ext cx="3575535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7521" y="1530350"/>
            <a:ext cx="3567572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26941" y="1530350"/>
            <a:ext cx="3568237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16/07/2019</a:t>
            </a:fld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4159537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Content Areas –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5783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2" y="4846173"/>
            <a:ext cx="3575535" cy="1524353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7519" y="4846173"/>
            <a:ext cx="3575535" cy="1524353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19806" y="4846173"/>
            <a:ext cx="3575371" cy="1524353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2" name="Inhaltsplatzhalter 13" descr="Spalte links" title="Spalte links"/>
          <p:cNvSpPr>
            <a:spLocks noGrp="1"/>
          </p:cNvSpPr>
          <p:nvPr>
            <p:ph sz="quarter" idx="19" hasCustomPrompt="1"/>
          </p:nvPr>
        </p:nvSpPr>
        <p:spPr>
          <a:xfrm>
            <a:off x="507932" y="1530706"/>
            <a:ext cx="3575535" cy="3050822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" name="Inhaltsplatzhalter 15" descr="Spalte mitte" title="Spalte mitte"/>
          <p:cNvSpPr>
            <a:spLocks noGrp="1"/>
          </p:cNvSpPr>
          <p:nvPr>
            <p:ph sz="quarter" idx="20" hasCustomPrompt="1"/>
          </p:nvPr>
        </p:nvSpPr>
        <p:spPr>
          <a:xfrm>
            <a:off x="4307521" y="1530706"/>
            <a:ext cx="3575371" cy="3050822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1" hasCustomPrompt="1"/>
          </p:nvPr>
        </p:nvSpPr>
        <p:spPr>
          <a:xfrm>
            <a:off x="8119807" y="1530706"/>
            <a:ext cx="3575369" cy="3050822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0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 dirty="0" smtClean="0"/>
              <a:t>File name | department | Author </a:t>
            </a:r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19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sp>
        <p:nvSpPr>
          <p:cNvPr id="21" name="Datumsplatzhalter 1"/>
          <p:cNvSpPr>
            <a:spLocks noGrp="1"/>
          </p:cNvSpPr>
          <p:nvPr>
            <p:ph type="dt" sz="half" idx="16"/>
          </p:nvPr>
        </p:nvSpPr>
        <p:spPr>
          <a:xfrm>
            <a:off x="2134766" y="6494399"/>
            <a:ext cx="792088" cy="103747"/>
          </a:xfrm>
        </p:spPr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16/07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9796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 fo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4" y="4581527"/>
            <a:ext cx="3575535" cy="1788998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7519" y="4581527"/>
            <a:ext cx="3575535" cy="1788998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19805" y="4581527"/>
            <a:ext cx="3575535" cy="1788998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7935" y="2032471"/>
            <a:ext cx="3575535" cy="204729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4307518" y="2032471"/>
            <a:ext cx="3575535" cy="204729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8126940" y="2032471"/>
            <a:ext cx="3575535" cy="204729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0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17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sp>
        <p:nvSpPr>
          <p:cNvPr id="20" name="Datumsplatzhalter 1"/>
          <p:cNvSpPr>
            <a:spLocks noGrp="1"/>
          </p:cNvSpPr>
          <p:nvPr>
            <p:ph type="dt" sz="half" idx="16"/>
          </p:nvPr>
        </p:nvSpPr>
        <p:spPr>
          <a:xfrm>
            <a:off x="2134766" y="6494399"/>
            <a:ext cx="792088" cy="103747"/>
          </a:xfrm>
        </p:spPr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16/07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7366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s fo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734" y="432323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1569" y="203057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5608" y="432323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8734" y="2032472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1569" y="4323600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5608" y="2032472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3243" y="2030575"/>
            <a:ext cx="2552368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3242" y="4323600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2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7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16/07/2019</a:t>
            </a:fld>
            <a:endParaRPr lang="en-GB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20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1134830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s for Images, Equa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734" y="432323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1569" y="4334831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5608" y="432323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8734" y="2032472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1569" y="2034000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5608" y="2032472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3243" y="4334831"/>
            <a:ext cx="2552368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3242" y="2034000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2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7"/>
          </p:nvPr>
        </p:nvSpPr>
        <p:spPr/>
        <p:txBody>
          <a:bodyPr/>
          <a:lstStyle>
            <a:lvl1pPr algn="r">
              <a:defRPr/>
            </a:lvl1pPr>
          </a:lstStyle>
          <a:p>
            <a:pPr algn="l"/>
            <a:fld id="{94C5268C-6958-4C27-B9A9-7B732B3052BE}" type="datetimeFigureOut">
              <a:rPr lang="en-GB" smtClean="0"/>
              <a:pPr algn="l"/>
              <a:t>16/07/2019</a:t>
            </a:fld>
            <a:endParaRPr lang="en-GB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20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1938503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E:\JOBS\19_DMCGROUP\PP_AKTUELL_2014\RES\16zu9_Grid_PNG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2" descr="E:\JOBS\19_DMCGROUP\PP_AKTUELL_2014\RES\16zu9_Grid_PNG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0905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7360920" y="6929"/>
            <a:ext cx="4345513" cy="4839244"/>
          </a:xfrm>
          <a:solidFill>
            <a:srgbClr val="C3D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21516"/>
            <a:ext cx="7361237" cy="685958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624763" y="3308350"/>
            <a:ext cx="4070350" cy="771524"/>
          </a:xfrm>
          <a:prstGeom prst="rect">
            <a:avLst/>
          </a:prstGeom>
        </p:spPr>
        <p:txBody>
          <a:bodyPr rIns="180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pic>
        <p:nvPicPr>
          <p:cNvPr id="13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6000" y="765498"/>
            <a:ext cx="5599113" cy="768350"/>
          </a:xfrm>
        </p:spPr>
        <p:txBody>
          <a:bodyPr/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8" name="Rechteck 10"/>
          <p:cNvSpPr/>
          <p:nvPr userDrawn="1"/>
        </p:nvSpPr>
        <p:spPr>
          <a:xfrm>
            <a:off x="291932" y="6373192"/>
            <a:ext cx="2058858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540" y="6010189"/>
            <a:ext cx="2034974" cy="227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169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4841875" cy="6859587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4841876" y="6929"/>
            <a:ext cx="3805237" cy="5343524"/>
          </a:xfrm>
          <a:solidFill>
            <a:srgbClr val="D4D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054350"/>
            <a:ext cx="4069756" cy="76676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5" y="1070298"/>
            <a:ext cx="7877240" cy="1711424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442136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97452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4841875" cy="6859587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4841876" y="6929"/>
            <a:ext cx="3805237" cy="5343524"/>
          </a:xfrm>
          <a:solidFill>
            <a:srgbClr val="D4D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054350"/>
            <a:ext cx="4069756" cy="76676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5" y="765498"/>
            <a:ext cx="7877240" cy="768350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10045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C7D0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562349" y="1030288"/>
            <a:ext cx="8132763" cy="4819416"/>
          </a:xfrm>
          <a:prstGeom prst="rect">
            <a:avLst/>
          </a:prstGeom>
        </p:spPr>
        <p:txBody>
          <a:bodyPr wrap="square" tIns="0"/>
          <a:lstStyle>
            <a:lvl1pPr marL="0" algn="l" defTabSz="1219170" rtl="0" eaLnBrk="1" latinLnBrk="0" hangingPunct="1">
              <a:spcAft>
                <a:spcPts val="4800"/>
              </a:spcAft>
              <a:defRPr lang="de-DE" sz="1800" b="1" kern="1200" cap="none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marL="0" marR="0" lvl="1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2</a:t>
            </a:r>
          </a:p>
          <a:p>
            <a:pPr marL="0" marR="0" lvl="2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3</a:t>
            </a:r>
          </a:p>
          <a:p>
            <a:pPr marL="0" marR="0" lvl="3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4</a:t>
            </a:r>
          </a:p>
          <a:p>
            <a:pPr marL="0" marR="0" lvl="4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5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5" y="768350"/>
            <a:ext cx="3054416" cy="645220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16/07/2019</a:t>
            </a:fld>
            <a:endParaRPr lang="en-GB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5134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6928"/>
            <a:ext cx="5087094" cy="5842775"/>
          </a:xfrm>
          <a:solidFill>
            <a:srgbClr val="EBE1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085688" y="1417320"/>
            <a:ext cx="7104724" cy="4953205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Imag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2"/>
            <a:ext cx="4333875" cy="228894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07935" y="1"/>
            <a:ext cx="7618478" cy="2925738"/>
          </a:xfrm>
        </p:spPr>
        <p:txBody>
          <a:bodyPr tIns="198000"/>
          <a:lstStyle>
            <a:lvl1pPr>
              <a:defRPr sz="4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16/07/2019</a:t>
            </a:fld>
            <a:endParaRPr lang="en-GB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5004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Cut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2552700"/>
            <a:ext cx="5600700" cy="3325365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600700" y="1530705"/>
            <a:ext cx="6589712" cy="483982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Imag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2"/>
            <a:ext cx="4333875" cy="228894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07934" y="1"/>
            <a:ext cx="7618479" cy="2925737"/>
          </a:xfrm>
        </p:spPr>
        <p:txBody>
          <a:bodyPr tIns="198000"/>
          <a:lstStyle>
            <a:lvl1pPr>
              <a:defRPr sz="4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16/07/2019</a:t>
            </a:fld>
            <a:endParaRPr lang="en-GB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8444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Big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2552700"/>
            <a:ext cx="5600700" cy="3325365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00699" y="2552700"/>
            <a:ext cx="6094478" cy="3297004"/>
          </a:xfrm>
        </p:spPr>
        <p:txBody>
          <a:bodyPr lIns="360000" tIns="216000" rIns="0" anchor="t"/>
          <a:lstStyle>
            <a:lvl1pPr>
              <a:defRPr lang="de-DE" sz="20000" b="1" kern="1200" cap="all" dirty="0" smtClean="0">
                <a:solidFill>
                  <a:srgbClr val="8A669D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00</a:t>
            </a:r>
            <a:br>
              <a:rPr lang="en-GB" noProof="0" dirty="0"/>
            </a:br>
            <a:endParaRPr lang="en-GB" noProof="0" dirty="0"/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7618413" cy="2538412"/>
          </a:xfrm>
          <a:prstGeom prst="rect">
            <a:avLst/>
          </a:prstGeom>
        </p:spPr>
        <p:txBody>
          <a:bodyPr tIns="0" bIns="180000" anchor="b"/>
          <a:lstStyle>
            <a:lvl1pPr marL="0" algn="l" defTabSz="1219170" rtl="0" eaLnBrk="1" latinLnBrk="0" hangingPunct="1">
              <a:defRPr lang="de-DE" sz="4400" b="1" kern="1200" cap="all" dirty="0" smtClean="0">
                <a:solidFill>
                  <a:srgbClr val="8A669D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3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2"/>
            <a:ext cx="4333875" cy="228894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16/07/2019</a:t>
            </a:fld>
            <a:endParaRPr lang="en-GB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2984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4407802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 descr="Standard-Headline" title="Standard-Headline"/>
          <p:cNvSpPr>
            <a:spLocks noGrp="1"/>
          </p:cNvSpPr>
          <p:nvPr>
            <p:ph type="title"/>
          </p:nvPr>
        </p:nvSpPr>
        <p:spPr>
          <a:xfrm>
            <a:off x="507934" y="261939"/>
            <a:ext cx="10672963" cy="768350"/>
          </a:xfrm>
          <a:prstGeom prst="rect">
            <a:avLst/>
          </a:prstGeom>
        </p:spPr>
        <p:txBody>
          <a:bodyPr vert="horz" wrap="square" lIns="0" tIns="288000" rIns="0" bIns="0" rtlCol="0" anchor="t">
            <a:noAutofit/>
          </a:bodyPr>
          <a:lstStyle/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07935" y="6376523"/>
            <a:ext cx="2418919" cy="1178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180896" y="6493949"/>
            <a:ext cx="514281" cy="36563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83" name="Gerade Verbindung 182"/>
          <p:cNvCxnSpPr/>
          <p:nvPr/>
        </p:nvCxnSpPr>
        <p:spPr>
          <a:xfrm>
            <a:off x="6095206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Gerade Verbindung 183"/>
          <p:cNvCxnSpPr/>
          <p:nvPr/>
        </p:nvCxnSpPr>
        <p:spPr>
          <a:xfrm>
            <a:off x="51183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184"/>
          <p:cNvCxnSpPr/>
          <p:nvPr/>
        </p:nvCxnSpPr>
        <p:spPr>
          <a:xfrm>
            <a:off x="330585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185"/>
          <p:cNvCxnSpPr/>
          <p:nvPr/>
        </p:nvCxnSpPr>
        <p:spPr>
          <a:xfrm>
            <a:off x="8884945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186"/>
          <p:cNvCxnSpPr/>
          <p:nvPr/>
        </p:nvCxnSpPr>
        <p:spPr>
          <a:xfrm>
            <a:off x="1168897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Gerade Verbindung 187"/>
          <p:cNvCxnSpPr/>
          <p:nvPr/>
        </p:nvCxnSpPr>
        <p:spPr>
          <a:xfrm>
            <a:off x="6099016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 Verbindung 188"/>
          <p:cNvCxnSpPr/>
          <p:nvPr/>
        </p:nvCxnSpPr>
        <p:spPr>
          <a:xfrm>
            <a:off x="51564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89"/>
          <p:cNvCxnSpPr/>
          <p:nvPr/>
        </p:nvCxnSpPr>
        <p:spPr>
          <a:xfrm>
            <a:off x="330966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90"/>
          <p:cNvCxnSpPr/>
          <p:nvPr/>
        </p:nvCxnSpPr>
        <p:spPr>
          <a:xfrm>
            <a:off x="8888755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 Verbindung 191"/>
          <p:cNvCxnSpPr/>
          <p:nvPr/>
        </p:nvCxnSpPr>
        <p:spPr>
          <a:xfrm>
            <a:off x="1169278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/>
          <p:cNvSpPr txBox="1"/>
          <p:nvPr/>
        </p:nvSpPr>
        <p:spPr>
          <a:xfrm>
            <a:off x="507600" y="6494400"/>
            <a:ext cx="184319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Copyright Allianz </a:t>
            </a:r>
            <a:r>
              <a:rPr lang="en-GB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chnology SE</a:t>
            </a:r>
            <a:endParaRPr lang="en-GB" sz="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8" name="Gerade Verbindung 117"/>
          <p:cNvCxnSpPr/>
          <p:nvPr/>
        </p:nvCxnSpPr>
        <p:spPr>
          <a:xfrm flipH="1">
            <a:off x="-313506" y="1273175"/>
            <a:ext cx="216024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507599" y="1274399"/>
            <a:ext cx="11188800" cy="4837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01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  <a:p>
            <a:pPr lvl="5"/>
            <a:r>
              <a:rPr lang="en-GB" dirty="0"/>
              <a:t>06</a:t>
            </a:r>
          </a:p>
          <a:p>
            <a:pPr lvl="6"/>
            <a:r>
              <a:rPr lang="en-GB" dirty="0"/>
              <a:t>07</a:t>
            </a:r>
          </a:p>
          <a:p>
            <a:pPr lvl="7"/>
            <a:r>
              <a:rPr lang="en-GB" dirty="0"/>
              <a:t>08</a:t>
            </a:r>
          </a:p>
          <a:p>
            <a:pPr lvl="8"/>
            <a:r>
              <a:rPr lang="en-GB" dirty="0"/>
              <a:t>09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2"/>
          </p:nvPr>
        </p:nvSpPr>
        <p:spPr>
          <a:xfrm>
            <a:off x="2134766" y="6494399"/>
            <a:ext cx="792088" cy="1231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4C5268C-6958-4C27-B9A9-7B732B3052BE}" type="datetimeFigureOut">
              <a:rPr lang="en-GB" smtClean="0"/>
              <a:pPr/>
              <a:t>16/07/2019</a:t>
            </a:fld>
            <a:endParaRPr lang="en-GB" dirty="0"/>
          </a:p>
        </p:txBody>
      </p:sp>
      <p:cxnSp>
        <p:nvCxnSpPr>
          <p:cNvPr id="20" name="Gerade Verbindung 19"/>
          <p:cNvCxnSpPr/>
          <p:nvPr/>
        </p:nvCxnSpPr>
        <p:spPr>
          <a:xfrm flipH="1">
            <a:off x="-313506" y="1529080"/>
            <a:ext cx="216024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9681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4" r:id="rId2"/>
    <p:sldLayoutId id="2147483740" r:id="rId3"/>
    <p:sldLayoutId id="2147483702" r:id="rId4"/>
    <p:sldLayoutId id="2147483771" r:id="rId5"/>
    <p:sldLayoutId id="2147483706" r:id="rId6"/>
    <p:sldLayoutId id="2147483708" r:id="rId7"/>
    <p:sldLayoutId id="2147483710" r:id="rId8"/>
    <p:sldLayoutId id="2147483714" r:id="rId9"/>
    <p:sldLayoutId id="2147483716" r:id="rId10"/>
    <p:sldLayoutId id="2147483745" r:id="rId11"/>
    <p:sldLayoutId id="2147483768" r:id="rId12"/>
    <p:sldLayoutId id="2147483769" r:id="rId13"/>
    <p:sldLayoutId id="2147483762" r:id="rId14"/>
    <p:sldLayoutId id="2147483770" r:id="rId15"/>
    <p:sldLayoutId id="2147483766" r:id="rId16"/>
    <p:sldLayoutId id="2147483739" r:id="rId17"/>
    <p:sldLayoutId id="2147483719" r:id="rId18"/>
    <p:sldLayoutId id="2147483767" r:id="rId19"/>
    <p:sldLayoutId id="2147483748" r:id="rId20"/>
    <p:sldLayoutId id="2147483724" r:id="rId21"/>
    <p:sldLayoutId id="2147483725" r:id="rId22"/>
    <p:sldLayoutId id="2147483726" r:id="rId23"/>
    <p:sldLayoutId id="2147483729" r:id="rId24"/>
    <p:sldLayoutId id="2147483742" r:id="rId25"/>
    <p:sldLayoutId id="2147483733" r:id="rId26"/>
  </p:sldLayoutIdLst>
  <p:timing>
    <p:tnLst>
      <p:par>
        <p:cTn id="1" dur="indefinite" restart="never" nodeType="tmRoot"/>
      </p:par>
    </p:tnLst>
  </p:timing>
  <p:hf hdr="0"/>
  <p:txStyles>
    <p:titleStyle>
      <a:lvl1pPr algn="l" defTabSz="1219170" rtl="0" eaLnBrk="1" latinLnBrk="0" hangingPunct="1">
        <a:spcBef>
          <a:spcPct val="0"/>
        </a:spcBef>
        <a:buNone/>
        <a:defRPr sz="30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800" b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179388" marR="0" indent="-179388" algn="l" defTabSz="1219170" rtl="0" eaLnBrk="1" fontAlgn="auto" latinLnBrk="0" hangingPunct="1">
        <a:lnSpc>
          <a:spcPct val="100000"/>
        </a:lnSpc>
        <a:spcBef>
          <a:spcPts val="200"/>
        </a:spcBef>
        <a:spcAft>
          <a:spcPts val="200"/>
        </a:spcAft>
        <a:buClrTx/>
        <a:buSzTx/>
        <a:buFont typeface="Arial" panose="020B0604020202020204" pitchFamily="34" charset="0"/>
        <a:buChar char="•"/>
        <a:tabLst/>
        <a:defRPr lang="en-GB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4013" indent="-179388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37061" indent="-237061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1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9388" indent="-179388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22764" indent="-122764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+mj-lt"/>
        <a:buAutoNum type="arabicParenR"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12" Type="http://schemas.openxmlformats.org/officeDocument/2006/relationships/image" Target="../media/image14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png"/><Relationship Id="rId11" Type="http://schemas.microsoft.com/office/2007/relationships/hdphoto" Target="../media/hdphoto5.wdp"/><Relationship Id="rId5" Type="http://schemas.microsoft.com/office/2007/relationships/hdphoto" Target="../media/hdphoto2.wdp"/><Relationship Id="rId10" Type="http://schemas.openxmlformats.org/officeDocument/2006/relationships/image" Target="../media/image13.png"/><Relationship Id="rId4" Type="http://schemas.openxmlformats.org/officeDocument/2006/relationships/image" Target="../media/image10.png"/><Relationship Id="rId9" Type="http://schemas.microsoft.com/office/2007/relationships/hdphoto" Target="../media/hdphoto4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21"/>
          <a:stretch/>
        </p:blipFill>
        <p:spPr>
          <a:xfrm>
            <a:off x="4841874" y="0"/>
            <a:ext cx="7348539" cy="5120295"/>
          </a:xfrm>
        </p:spPr>
      </p:pic>
      <p:sp>
        <p:nvSpPr>
          <p:cNvPr id="45" name="Rechteck 44"/>
          <p:cNvSpPr/>
          <p:nvPr/>
        </p:nvSpPr>
        <p:spPr>
          <a:xfrm>
            <a:off x="0" y="2"/>
            <a:ext cx="4841875" cy="4581523"/>
          </a:xfrm>
          <a:prstGeom prst="rect">
            <a:avLst/>
          </a:prstGeo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noProof="0" dirty="0">
              <a:latin typeface="Allianz Neo" pitchFamily="34" charset="0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>
          <a:xfrm>
            <a:off x="-97482" y="-98598"/>
            <a:ext cx="4939357" cy="4680123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endParaRPr lang="de-DE" dirty="0">
              <a:latin typeface="Allianz Neo" pitchFamily="34" charset="0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latin typeface="Allianz Neo" pitchFamily="34" charset="0"/>
              </a:rPr>
              <a:t>Cloud based solution for </a:t>
            </a:r>
            <a:r>
              <a:rPr lang="en-GB" dirty="0" smtClean="0">
                <a:latin typeface="Allianz Neo" pitchFamily="34" charset="0"/>
              </a:rPr>
              <a:t>Service Portfolio Governance</a:t>
            </a:r>
          </a:p>
          <a:p>
            <a:endParaRPr lang="en-GB" dirty="0">
              <a:latin typeface="Allianz Neo" pitchFamily="34" charset="0"/>
            </a:endParaRPr>
          </a:p>
          <a:p>
            <a:endParaRPr lang="en-GB" dirty="0" smtClean="0">
              <a:latin typeface="Allianz Neo" pitchFamily="34" charset="0"/>
            </a:endParaRPr>
          </a:p>
          <a:p>
            <a:r>
              <a:rPr lang="en-GB" dirty="0" smtClean="0">
                <a:latin typeface="Allianz Neo" pitchFamily="34" charset="0"/>
              </a:rPr>
              <a:t>May 2019</a:t>
            </a:r>
            <a:endParaRPr lang="en-GB" dirty="0">
              <a:latin typeface="Allianz Neo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07934" y="765498"/>
            <a:ext cx="7367653" cy="2232248"/>
          </a:xfrm>
        </p:spPr>
        <p:txBody>
          <a:bodyPr/>
          <a:lstStyle/>
          <a:p>
            <a:r>
              <a:rPr lang="en-GB" sz="4000" dirty="0">
                <a:latin typeface="Allianz Neo" pitchFamily="34" charset="0"/>
              </a:rPr>
              <a:t>Service Portfolio </a:t>
            </a:r>
            <a:r>
              <a:rPr lang="en-GB" sz="4000" dirty="0" smtClean="0">
                <a:solidFill>
                  <a:schemeClr val="accent5">
                    <a:lumMod val="75000"/>
                  </a:schemeClr>
                </a:solidFill>
                <a:latin typeface="Allianz Neo" pitchFamily="34" charset="0"/>
              </a:rPr>
              <a:t>Governance</a:t>
            </a:r>
            <a:endParaRPr lang="en-GB" sz="4000" dirty="0">
              <a:solidFill>
                <a:schemeClr val="accent5">
                  <a:lumMod val="75000"/>
                </a:schemeClr>
              </a:solidFill>
              <a:latin typeface="Allianz Ne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4393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9" name="Textplatzhalter 58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GB" sz="7200" dirty="0" smtClean="0">
                <a:latin typeface="Allianz Neo" pitchFamily="34" charset="0"/>
              </a:rPr>
              <a:t>Thank you </a:t>
            </a:r>
            <a:endParaRPr lang="en-GB" sz="7200" dirty="0">
              <a:latin typeface="Allianz Neo" pitchFamily="34" charset="0"/>
            </a:endParaRPr>
          </a:p>
        </p:txBody>
      </p:sp>
      <p:pic>
        <p:nvPicPr>
          <p:cNvPr id="49" name="Grafik 8"/>
          <p:cNvPicPr>
            <a:picLocks noChangeAspect="1"/>
          </p:cNvPicPr>
          <p:nvPr/>
        </p:nvPicPr>
        <p:blipFill>
          <a:blip r:embed="rId2">
            <a:alphaModFix amt="4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095207" y="550109"/>
            <a:ext cx="6095206" cy="6309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852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4C536D6-B736-49CE-A15A-036B8228C5C7}" type="datetime1">
              <a:rPr lang="en-GB" smtClean="0"/>
              <a:t>16/07/2019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endParaRPr lang="en-US">
              <a:latin typeface="Allianz Neo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llianz Neo" pitchFamily="34" charset="0"/>
              </a:rPr>
              <a:t>Shifts in portfolio complexity</a:t>
            </a:r>
            <a:endParaRPr lang="en-US" dirty="0">
              <a:latin typeface="Allianz Neo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599254" y="1773745"/>
            <a:ext cx="4512176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5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Service Level Management |Portfolio Overview </a:t>
            </a:r>
            <a:endParaRPr lang="en-GB" sz="15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15" r="4303"/>
          <a:stretch/>
        </p:blipFill>
        <p:spPr bwMode="auto">
          <a:xfrm>
            <a:off x="1198662" y="1125538"/>
            <a:ext cx="10153127" cy="52689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9159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endParaRPr lang="en-US" dirty="0">
              <a:latin typeface="Allianz Neo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latin typeface="Allianz Neo" pitchFamily="34" charset="0"/>
              </a:rPr>
              <a:t>Service Portfolio Governance  - Proposed SaaS Solution </a:t>
            </a:r>
          </a:p>
        </p:txBody>
      </p:sp>
      <p:sp>
        <p:nvSpPr>
          <p:cNvPr id="143" name="Rectangle 142"/>
          <p:cNvSpPr/>
          <p:nvPr/>
        </p:nvSpPr>
        <p:spPr>
          <a:xfrm>
            <a:off x="550590" y="1499508"/>
            <a:ext cx="11089232" cy="4877486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 smtClean="0"/>
          </a:p>
        </p:txBody>
      </p:sp>
      <p:grpSp>
        <p:nvGrpSpPr>
          <p:cNvPr id="167" name="Group 166"/>
          <p:cNvGrpSpPr/>
          <p:nvPr/>
        </p:nvGrpSpPr>
        <p:grpSpPr>
          <a:xfrm>
            <a:off x="1914906" y="4447101"/>
            <a:ext cx="2361015" cy="303736"/>
            <a:chOff x="838200" y="3385182"/>
            <a:chExt cx="3188372" cy="358633"/>
          </a:xfrm>
        </p:grpSpPr>
        <p:cxnSp>
          <p:nvCxnSpPr>
            <p:cNvPr id="168" name="Straight Connector 167"/>
            <p:cNvCxnSpPr/>
            <p:nvPr/>
          </p:nvCxnSpPr>
          <p:spPr>
            <a:xfrm>
              <a:off x="3667939" y="3385182"/>
              <a:ext cx="358633" cy="358633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/>
            <p:cNvCxnSpPr/>
            <p:nvPr/>
          </p:nvCxnSpPr>
          <p:spPr>
            <a:xfrm flipH="1">
              <a:off x="838200" y="3385326"/>
              <a:ext cx="2828357" cy="0"/>
            </a:xfrm>
            <a:prstGeom prst="line">
              <a:avLst/>
            </a:prstGeom>
            <a:ln>
              <a:solidFill>
                <a:schemeClr val="tx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3" name="Group 172"/>
          <p:cNvGrpSpPr/>
          <p:nvPr/>
        </p:nvGrpSpPr>
        <p:grpSpPr>
          <a:xfrm flipV="1">
            <a:off x="800100" y="5846155"/>
            <a:ext cx="4144271" cy="303736"/>
            <a:chOff x="-487619" y="3385182"/>
            <a:chExt cx="4514191" cy="358633"/>
          </a:xfrm>
        </p:grpSpPr>
        <p:cxnSp>
          <p:nvCxnSpPr>
            <p:cNvPr id="174" name="Straight Connector 173"/>
            <p:cNvCxnSpPr/>
            <p:nvPr/>
          </p:nvCxnSpPr>
          <p:spPr>
            <a:xfrm>
              <a:off x="3667939" y="3385182"/>
              <a:ext cx="358633" cy="358633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/>
            <p:cNvCxnSpPr/>
            <p:nvPr/>
          </p:nvCxnSpPr>
          <p:spPr>
            <a:xfrm flipH="1" flipV="1">
              <a:off x="-487619" y="3385326"/>
              <a:ext cx="4154177" cy="0"/>
            </a:xfrm>
            <a:prstGeom prst="line">
              <a:avLst/>
            </a:prstGeom>
            <a:ln>
              <a:solidFill>
                <a:schemeClr val="tx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6" name="Group 175"/>
          <p:cNvGrpSpPr/>
          <p:nvPr/>
        </p:nvGrpSpPr>
        <p:grpSpPr>
          <a:xfrm flipH="1">
            <a:off x="7734020" y="4447101"/>
            <a:ext cx="2478236" cy="303736"/>
            <a:chOff x="838200" y="3385182"/>
            <a:chExt cx="3188372" cy="358633"/>
          </a:xfrm>
        </p:grpSpPr>
        <p:cxnSp>
          <p:nvCxnSpPr>
            <p:cNvPr id="177" name="Straight Connector 176"/>
            <p:cNvCxnSpPr/>
            <p:nvPr/>
          </p:nvCxnSpPr>
          <p:spPr>
            <a:xfrm>
              <a:off x="3667939" y="3385182"/>
              <a:ext cx="358633" cy="358633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/>
            <p:cNvCxnSpPr/>
            <p:nvPr/>
          </p:nvCxnSpPr>
          <p:spPr>
            <a:xfrm flipH="1">
              <a:off x="838200" y="3385326"/>
              <a:ext cx="2828357" cy="0"/>
            </a:xfrm>
            <a:prstGeom prst="line">
              <a:avLst/>
            </a:prstGeom>
            <a:ln>
              <a:solidFill>
                <a:schemeClr val="tx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9" name="Group 178"/>
          <p:cNvGrpSpPr/>
          <p:nvPr/>
        </p:nvGrpSpPr>
        <p:grpSpPr>
          <a:xfrm flipH="1">
            <a:off x="7065571" y="2725284"/>
            <a:ext cx="4214210" cy="344469"/>
            <a:chOff x="838200" y="3385182"/>
            <a:chExt cx="3188372" cy="358633"/>
          </a:xfrm>
        </p:grpSpPr>
        <p:cxnSp>
          <p:nvCxnSpPr>
            <p:cNvPr id="180" name="Straight Connector 179"/>
            <p:cNvCxnSpPr/>
            <p:nvPr/>
          </p:nvCxnSpPr>
          <p:spPr>
            <a:xfrm>
              <a:off x="3667939" y="3385182"/>
              <a:ext cx="358633" cy="358633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/>
            <p:cNvCxnSpPr/>
            <p:nvPr/>
          </p:nvCxnSpPr>
          <p:spPr>
            <a:xfrm flipH="1">
              <a:off x="838200" y="3385326"/>
              <a:ext cx="2828357" cy="0"/>
            </a:xfrm>
            <a:prstGeom prst="line">
              <a:avLst/>
            </a:prstGeom>
            <a:ln>
              <a:solidFill>
                <a:schemeClr val="tx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2" name="Group 181"/>
          <p:cNvGrpSpPr/>
          <p:nvPr/>
        </p:nvGrpSpPr>
        <p:grpSpPr>
          <a:xfrm flipH="1" flipV="1">
            <a:off x="7065570" y="5846155"/>
            <a:ext cx="4286219" cy="303736"/>
            <a:chOff x="-487619" y="3385182"/>
            <a:chExt cx="4514191" cy="358633"/>
          </a:xfrm>
        </p:grpSpPr>
        <p:cxnSp>
          <p:nvCxnSpPr>
            <p:cNvPr id="183" name="Straight Connector 182"/>
            <p:cNvCxnSpPr/>
            <p:nvPr/>
          </p:nvCxnSpPr>
          <p:spPr>
            <a:xfrm>
              <a:off x="3667939" y="3385182"/>
              <a:ext cx="358633" cy="358633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/>
            <p:cNvCxnSpPr/>
            <p:nvPr/>
          </p:nvCxnSpPr>
          <p:spPr>
            <a:xfrm flipH="1" flipV="1">
              <a:off x="-487619" y="3385326"/>
              <a:ext cx="4154176" cy="0"/>
            </a:xfrm>
            <a:prstGeom prst="line">
              <a:avLst/>
            </a:prstGeom>
            <a:ln>
              <a:solidFill>
                <a:schemeClr val="tx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5" name="TextBox 184">
            <a:extLst>
              <a:ext uri="{FF2B5EF4-FFF2-40B4-BE49-F238E27FC236}">
                <a16:creationId xmlns:a16="http://schemas.microsoft.com/office/drawing/2014/main" xmlns="" id="{76E71DF3-9E40-4F61-BD7C-280BE5106AD5}"/>
              </a:ext>
            </a:extLst>
          </p:cNvPr>
          <p:cNvSpPr txBox="1"/>
          <p:nvPr/>
        </p:nvSpPr>
        <p:spPr>
          <a:xfrm>
            <a:off x="766614" y="1914242"/>
            <a:ext cx="3497290" cy="6093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r>
              <a:rPr lang="en-GB" sz="1400" dirty="0"/>
              <a:t>Portfolio governance as service that tracks</a:t>
            </a:r>
            <a:r>
              <a:rPr lang="en-GB" sz="140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GB" sz="1400" b="1" dirty="0">
                <a:solidFill>
                  <a:schemeClr val="accent5">
                    <a:lumMod val="75000"/>
                  </a:schemeClr>
                </a:solidFill>
              </a:rPr>
              <a:t>SLA, Legal Contracts, Knowledge transfer documents, RACI Matric </a:t>
            </a:r>
            <a:r>
              <a:rPr lang="en-GB" sz="1400" dirty="0"/>
              <a:t>and other details at individual service level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xmlns="" id="{76E71DF3-9E40-4F61-BD7C-280BE5106AD5}"/>
              </a:ext>
            </a:extLst>
          </p:cNvPr>
          <p:cNvSpPr txBox="1"/>
          <p:nvPr/>
        </p:nvSpPr>
        <p:spPr>
          <a:xfrm>
            <a:off x="1580836" y="5190399"/>
            <a:ext cx="1736072" cy="6093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GB" sz="1400" dirty="0" smtClean="0"/>
              <a:t>Manage </a:t>
            </a:r>
            <a:r>
              <a:rPr lang="en-GB" sz="1400" b="1" dirty="0">
                <a:solidFill>
                  <a:schemeClr val="accent5">
                    <a:lumMod val="75000"/>
                  </a:schemeClr>
                </a:solidFill>
              </a:rPr>
              <a:t>multiple Portfolios</a:t>
            </a:r>
            <a:r>
              <a:rPr lang="en-GB" sz="1400" dirty="0" smtClean="0"/>
              <a:t>  across geographies</a:t>
            </a:r>
            <a:endParaRPr lang="en-GB" sz="1400" dirty="0"/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xmlns="" id="{76E71DF3-9E40-4F61-BD7C-280BE5106AD5}"/>
              </a:ext>
            </a:extLst>
          </p:cNvPr>
          <p:cNvSpPr txBox="1"/>
          <p:nvPr/>
        </p:nvSpPr>
        <p:spPr>
          <a:xfrm>
            <a:off x="7746038" y="1914242"/>
            <a:ext cx="3605751" cy="6093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GB" sz="1400" dirty="0"/>
              <a:t>Give stakeholders </a:t>
            </a:r>
            <a:r>
              <a:rPr lang="en-GB" sz="1400" b="1" dirty="0">
                <a:solidFill>
                  <a:schemeClr val="accent5">
                    <a:lumMod val="75000"/>
                  </a:schemeClr>
                </a:solidFill>
              </a:rPr>
              <a:t>role-specific content </a:t>
            </a:r>
            <a:r>
              <a:rPr lang="en-GB" sz="1400" dirty="0"/>
              <a:t>and navigation to views and functionality that are relevant to their positions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xmlns="" id="{76E71DF3-9E40-4F61-BD7C-280BE5106AD5}"/>
              </a:ext>
            </a:extLst>
          </p:cNvPr>
          <p:cNvSpPr txBox="1"/>
          <p:nvPr/>
        </p:nvSpPr>
        <p:spPr>
          <a:xfrm>
            <a:off x="550590" y="3243108"/>
            <a:ext cx="2756757" cy="78133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r>
              <a:rPr lang="en-GB" sz="1400" dirty="0"/>
              <a:t>Govern</a:t>
            </a:r>
            <a:r>
              <a:rPr lang="en-GB" sz="140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GB" sz="1400" dirty="0"/>
              <a:t>your service portfolio by creating clear responsibility </a:t>
            </a:r>
            <a:r>
              <a:rPr lang="en-GB" sz="1400" b="1" dirty="0">
                <a:solidFill>
                  <a:schemeClr val="accent5">
                    <a:lumMod val="75000"/>
                  </a:schemeClr>
                </a:solidFill>
              </a:rPr>
              <a:t>for IT governance,</a:t>
            </a:r>
            <a:r>
              <a:rPr lang="en-GB" sz="1400" dirty="0"/>
              <a:t> data capture, SLA and compliance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xmlns="" id="{76E71DF3-9E40-4F61-BD7C-280BE5106AD5}"/>
              </a:ext>
            </a:extLst>
          </p:cNvPr>
          <p:cNvSpPr txBox="1"/>
          <p:nvPr/>
        </p:nvSpPr>
        <p:spPr>
          <a:xfrm>
            <a:off x="8831510" y="5106744"/>
            <a:ext cx="2570012" cy="69931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GB" sz="1400" b="1" dirty="0">
                <a:solidFill>
                  <a:schemeClr val="accent5">
                    <a:lumMod val="75000"/>
                  </a:schemeClr>
                </a:solidFill>
              </a:rPr>
              <a:t>Monitor</a:t>
            </a:r>
            <a:r>
              <a:rPr lang="en-GB" sz="1400" dirty="0" smtClean="0"/>
              <a:t> service </a:t>
            </a:r>
            <a:r>
              <a:rPr lang="en-GB" sz="1400" dirty="0"/>
              <a:t>portfolio to ensure that it aligns </a:t>
            </a:r>
            <a:r>
              <a:rPr lang="en-GB" sz="1400" dirty="0" smtClean="0"/>
              <a:t>with contractual requirements</a:t>
            </a:r>
            <a:endParaRPr lang="en-GB" sz="1400" dirty="0"/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xmlns="" id="{76E71DF3-9E40-4F61-BD7C-280BE5106AD5}"/>
              </a:ext>
            </a:extLst>
          </p:cNvPr>
          <p:cNvSpPr txBox="1"/>
          <p:nvPr/>
        </p:nvSpPr>
        <p:spPr>
          <a:xfrm>
            <a:off x="8471470" y="3325578"/>
            <a:ext cx="1544184" cy="43193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GB" sz="1400" b="1" dirty="0">
                <a:solidFill>
                  <a:schemeClr val="accent5">
                    <a:lumMod val="75000"/>
                  </a:schemeClr>
                </a:solidFill>
              </a:rPr>
              <a:t>Integration</a:t>
            </a:r>
            <a:r>
              <a:rPr lang="en-GB" sz="1400" dirty="0" smtClean="0"/>
              <a:t> with existing tools</a:t>
            </a:r>
            <a:endParaRPr lang="en-GB" sz="1400" dirty="0"/>
          </a:p>
        </p:txBody>
      </p:sp>
      <p:pic>
        <p:nvPicPr>
          <p:cNvPr id="191" name="Picture 190"/>
          <p:cNvPicPr>
            <a:picLocks noChangeAspect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7414" y="3385690"/>
            <a:ext cx="376532" cy="374094"/>
          </a:xfrm>
          <a:prstGeom prst="rect">
            <a:avLst/>
          </a:prstGeom>
        </p:spPr>
      </p:pic>
      <p:pic>
        <p:nvPicPr>
          <p:cNvPr id="192" name="Picture 191"/>
          <p:cNvPicPr>
            <a:picLocks noChangeAspect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1739" y="5234211"/>
            <a:ext cx="475920" cy="479296"/>
          </a:xfrm>
          <a:prstGeom prst="rect">
            <a:avLst/>
          </a:prstGeom>
        </p:spPr>
      </p:pic>
      <p:pic>
        <p:nvPicPr>
          <p:cNvPr id="193" name="Picture 192"/>
          <p:cNvPicPr>
            <a:picLocks noChangeAspect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8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2918" y="3408049"/>
            <a:ext cx="409423" cy="417535"/>
          </a:xfrm>
          <a:prstGeom prst="rect">
            <a:avLst/>
          </a:prstGeom>
        </p:spPr>
      </p:pic>
      <p:pic>
        <p:nvPicPr>
          <p:cNvPr id="194" name="Picture 193"/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8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5393" y="1855506"/>
            <a:ext cx="432794" cy="372796"/>
          </a:xfrm>
          <a:prstGeom prst="rect">
            <a:avLst/>
          </a:prstGeom>
        </p:spPr>
      </p:pic>
      <p:pic>
        <p:nvPicPr>
          <p:cNvPr id="195" name="Picture 194"/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3754" y="1844648"/>
            <a:ext cx="478697" cy="388457"/>
          </a:xfrm>
          <a:prstGeom prst="rect">
            <a:avLst/>
          </a:prstGeom>
        </p:spPr>
      </p:pic>
      <p:grpSp>
        <p:nvGrpSpPr>
          <p:cNvPr id="253" name="Settings"/>
          <p:cNvGrpSpPr/>
          <p:nvPr/>
        </p:nvGrpSpPr>
        <p:grpSpPr>
          <a:xfrm>
            <a:off x="3574927" y="5248507"/>
            <a:ext cx="360040" cy="409422"/>
            <a:chOff x="5174372" y="2152828"/>
            <a:chExt cx="586191" cy="666591"/>
          </a:xfrm>
          <a:solidFill>
            <a:schemeClr val="accent4"/>
          </a:solidFill>
        </p:grpSpPr>
        <p:sp>
          <p:nvSpPr>
            <p:cNvPr id="254" name="Freeform 258"/>
            <p:cNvSpPr>
              <a:spLocks noEditPoints="1"/>
            </p:cNvSpPr>
            <p:nvPr/>
          </p:nvSpPr>
          <p:spPr bwMode="auto">
            <a:xfrm>
              <a:off x="5174372" y="2152828"/>
              <a:ext cx="156415" cy="666591"/>
            </a:xfrm>
            <a:custGeom>
              <a:avLst/>
              <a:gdLst>
                <a:gd name="T0" fmla="*/ 83 w 107"/>
                <a:gd name="T1" fmla="*/ 29 h 456"/>
                <a:gd name="T2" fmla="*/ 83 w 107"/>
                <a:gd name="T3" fmla="*/ 23 h 456"/>
                <a:gd name="T4" fmla="*/ 78 w 107"/>
                <a:gd name="T5" fmla="*/ 13 h 456"/>
                <a:gd name="T6" fmla="*/ 70 w 107"/>
                <a:gd name="T7" fmla="*/ 5 h 456"/>
                <a:gd name="T8" fmla="*/ 60 w 107"/>
                <a:gd name="T9" fmla="*/ 0 h 456"/>
                <a:gd name="T10" fmla="*/ 53 w 107"/>
                <a:gd name="T11" fmla="*/ 0 h 456"/>
                <a:gd name="T12" fmla="*/ 42 w 107"/>
                <a:gd name="T13" fmla="*/ 1 h 456"/>
                <a:gd name="T14" fmla="*/ 32 w 107"/>
                <a:gd name="T15" fmla="*/ 8 h 456"/>
                <a:gd name="T16" fmla="*/ 27 w 107"/>
                <a:gd name="T17" fmla="*/ 18 h 456"/>
                <a:gd name="T18" fmla="*/ 24 w 107"/>
                <a:gd name="T19" fmla="*/ 29 h 456"/>
                <a:gd name="T20" fmla="*/ 24 w 107"/>
                <a:gd name="T21" fmla="*/ 94 h 456"/>
                <a:gd name="T22" fmla="*/ 6 w 107"/>
                <a:gd name="T23" fmla="*/ 114 h 456"/>
                <a:gd name="T24" fmla="*/ 0 w 107"/>
                <a:gd name="T25" fmla="*/ 140 h 456"/>
                <a:gd name="T26" fmla="*/ 1 w 107"/>
                <a:gd name="T27" fmla="*/ 155 h 456"/>
                <a:gd name="T28" fmla="*/ 14 w 107"/>
                <a:gd name="T29" fmla="*/ 177 h 456"/>
                <a:gd name="T30" fmla="*/ 24 w 107"/>
                <a:gd name="T31" fmla="*/ 427 h 456"/>
                <a:gd name="T32" fmla="*/ 26 w 107"/>
                <a:gd name="T33" fmla="*/ 433 h 456"/>
                <a:gd name="T34" fmla="*/ 29 w 107"/>
                <a:gd name="T35" fmla="*/ 443 h 456"/>
                <a:gd name="T36" fmla="*/ 37 w 107"/>
                <a:gd name="T37" fmla="*/ 451 h 456"/>
                <a:gd name="T38" fmla="*/ 49 w 107"/>
                <a:gd name="T39" fmla="*/ 456 h 456"/>
                <a:gd name="T40" fmla="*/ 53 w 107"/>
                <a:gd name="T41" fmla="*/ 456 h 456"/>
                <a:gd name="T42" fmla="*/ 65 w 107"/>
                <a:gd name="T43" fmla="*/ 455 h 456"/>
                <a:gd name="T44" fmla="*/ 75 w 107"/>
                <a:gd name="T45" fmla="*/ 448 h 456"/>
                <a:gd name="T46" fmla="*/ 81 w 107"/>
                <a:gd name="T47" fmla="*/ 438 h 456"/>
                <a:gd name="T48" fmla="*/ 83 w 107"/>
                <a:gd name="T49" fmla="*/ 427 h 456"/>
                <a:gd name="T50" fmla="*/ 83 w 107"/>
                <a:gd name="T51" fmla="*/ 186 h 456"/>
                <a:gd name="T52" fmla="*/ 101 w 107"/>
                <a:gd name="T53" fmla="*/ 166 h 456"/>
                <a:gd name="T54" fmla="*/ 107 w 107"/>
                <a:gd name="T55" fmla="*/ 140 h 456"/>
                <a:gd name="T56" fmla="*/ 106 w 107"/>
                <a:gd name="T57" fmla="*/ 127 h 456"/>
                <a:gd name="T58" fmla="*/ 93 w 107"/>
                <a:gd name="T59" fmla="*/ 102 h 456"/>
                <a:gd name="T60" fmla="*/ 83 w 107"/>
                <a:gd name="T61" fmla="*/ 94 h 456"/>
                <a:gd name="T62" fmla="*/ 53 w 107"/>
                <a:gd name="T63" fmla="*/ 173 h 456"/>
                <a:gd name="T64" fmla="*/ 40 w 107"/>
                <a:gd name="T65" fmla="*/ 169 h 456"/>
                <a:gd name="T66" fmla="*/ 31 w 107"/>
                <a:gd name="T67" fmla="*/ 163 h 456"/>
                <a:gd name="T68" fmla="*/ 24 w 107"/>
                <a:gd name="T69" fmla="*/ 153 h 456"/>
                <a:gd name="T70" fmla="*/ 21 w 107"/>
                <a:gd name="T71" fmla="*/ 140 h 456"/>
                <a:gd name="T72" fmla="*/ 23 w 107"/>
                <a:gd name="T73" fmla="*/ 133 h 456"/>
                <a:gd name="T74" fmla="*/ 27 w 107"/>
                <a:gd name="T75" fmla="*/ 122 h 456"/>
                <a:gd name="T76" fmla="*/ 36 w 107"/>
                <a:gd name="T77" fmla="*/ 114 h 456"/>
                <a:gd name="T78" fmla="*/ 47 w 107"/>
                <a:gd name="T79" fmla="*/ 109 h 456"/>
                <a:gd name="T80" fmla="*/ 53 w 107"/>
                <a:gd name="T81" fmla="*/ 107 h 456"/>
                <a:gd name="T82" fmla="*/ 67 w 107"/>
                <a:gd name="T83" fmla="*/ 111 h 456"/>
                <a:gd name="T84" fmla="*/ 76 w 107"/>
                <a:gd name="T85" fmla="*/ 117 h 456"/>
                <a:gd name="T86" fmla="*/ 83 w 107"/>
                <a:gd name="T87" fmla="*/ 127 h 456"/>
                <a:gd name="T88" fmla="*/ 86 w 107"/>
                <a:gd name="T89" fmla="*/ 140 h 456"/>
                <a:gd name="T90" fmla="*/ 86 w 107"/>
                <a:gd name="T91" fmla="*/ 146 h 456"/>
                <a:gd name="T92" fmla="*/ 81 w 107"/>
                <a:gd name="T93" fmla="*/ 158 h 456"/>
                <a:gd name="T94" fmla="*/ 71 w 107"/>
                <a:gd name="T95" fmla="*/ 168 h 456"/>
                <a:gd name="T96" fmla="*/ 60 w 107"/>
                <a:gd name="T97" fmla="*/ 173 h 456"/>
                <a:gd name="T98" fmla="*/ 53 w 107"/>
                <a:gd name="T99" fmla="*/ 173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7" h="456">
                  <a:moveTo>
                    <a:pt x="83" y="94"/>
                  </a:moveTo>
                  <a:lnTo>
                    <a:pt x="83" y="29"/>
                  </a:lnTo>
                  <a:lnTo>
                    <a:pt x="83" y="29"/>
                  </a:lnTo>
                  <a:lnTo>
                    <a:pt x="83" y="23"/>
                  </a:lnTo>
                  <a:lnTo>
                    <a:pt x="81" y="18"/>
                  </a:lnTo>
                  <a:lnTo>
                    <a:pt x="78" y="13"/>
                  </a:lnTo>
                  <a:lnTo>
                    <a:pt x="75" y="8"/>
                  </a:lnTo>
                  <a:lnTo>
                    <a:pt x="70" y="5"/>
                  </a:lnTo>
                  <a:lnTo>
                    <a:pt x="65" y="1"/>
                  </a:lnTo>
                  <a:lnTo>
                    <a:pt x="6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49" y="0"/>
                  </a:lnTo>
                  <a:lnTo>
                    <a:pt x="42" y="1"/>
                  </a:lnTo>
                  <a:lnTo>
                    <a:pt x="37" y="5"/>
                  </a:lnTo>
                  <a:lnTo>
                    <a:pt x="32" y="8"/>
                  </a:lnTo>
                  <a:lnTo>
                    <a:pt x="29" y="13"/>
                  </a:lnTo>
                  <a:lnTo>
                    <a:pt x="27" y="18"/>
                  </a:lnTo>
                  <a:lnTo>
                    <a:pt x="26" y="23"/>
                  </a:lnTo>
                  <a:lnTo>
                    <a:pt x="24" y="29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14" y="102"/>
                  </a:lnTo>
                  <a:lnTo>
                    <a:pt x="6" y="114"/>
                  </a:lnTo>
                  <a:lnTo>
                    <a:pt x="1" y="127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1" y="155"/>
                  </a:lnTo>
                  <a:lnTo>
                    <a:pt x="6" y="166"/>
                  </a:lnTo>
                  <a:lnTo>
                    <a:pt x="14" y="177"/>
                  </a:lnTo>
                  <a:lnTo>
                    <a:pt x="24" y="186"/>
                  </a:lnTo>
                  <a:lnTo>
                    <a:pt x="24" y="427"/>
                  </a:lnTo>
                  <a:lnTo>
                    <a:pt x="24" y="427"/>
                  </a:lnTo>
                  <a:lnTo>
                    <a:pt x="26" y="433"/>
                  </a:lnTo>
                  <a:lnTo>
                    <a:pt x="27" y="438"/>
                  </a:lnTo>
                  <a:lnTo>
                    <a:pt x="29" y="443"/>
                  </a:lnTo>
                  <a:lnTo>
                    <a:pt x="32" y="448"/>
                  </a:lnTo>
                  <a:lnTo>
                    <a:pt x="37" y="451"/>
                  </a:lnTo>
                  <a:lnTo>
                    <a:pt x="42" y="455"/>
                  </a:lnTo>
                  <a:lnTo>
                    <a:pt x="49" y="456"/>
                  </a:lnTo>
                  <a:lnTo>
                    <a:pt x="53" y="456"/>
                  </a:lnTo>
                  <a:lnTo>
                    <a:pt x="53" y="456"/>
                  </a:lnTo>
                  <a:lnTo>
                    <a:pt x="60" y="456"/>
                  </a:lnTo>
                  <a:lnTo>
                    <a:pt x="65" y="455"/>
                  </a:lnTo>
                  <a:lnTo>
                    <a:pt x="70" y="451"/>
                  </a:lnTo>
                  <a:lnTo>
                    <a:pt x="75" y="448"/>
                  </a:lnTo>
                  <a:lnTo>
                    <a:pt x="78" y="443"/>
                  </a:lnTo>
                  <a:lnTo>
                    <a:pt x="81" y="438"/>
                  </a:lnTo>
                  <a:lnTo>
                    <a:pt x="83" y="433"/>
                  </a:lnTo>
                  <a:lnTo>
                    <a:pt x="83" y="427"/>
                  </a:lnTo>
                  <a:lnTo>
                    <a:pt x="83" y="186"/>
                  </a:lnTo>
                  <a:lnTo>
                    <a:pt x="83" y="186"/>
                  </a:lnTo>
                  <a:lnTo>
                    <a:pt x="93" y="177"/>
                  </a:lnTo>
                  <a:lnTo>
                    <a:pt x="101" y="166"/>
                  </a:lnTo>
                  <a:lnTo>
                    <a:pt x="106" y="155"/>
                  </a:lnTo>
                  <a:lnTo>
                    <a:pt x="107" y="140"/>
                  </a:lnTo>
                  <a:lnTo>
                    <a:pt x="107" y="140"/>
                  </a:lnTo>
                  <a:lnTo>
                    <a:pt x="106" y="127"/>
                  </a:lnTo>
                  <a:lnTo>
                    <a:pt x="101" y="114"/>
                  </a:lnTo>
                  <a:lnTo>
                    <a:pt x="93" y="102"/>
                  </a:lnTo>
                  <a:lnTo>
                    <a:pt x="83" y="94"/>
                  </a:lnTo>
                  <a:lnTo>
                    <a:pt x="83" y="94"/>
                  </a:lnTo>
                  <a:close/>
                  <a:moveTo>
                    <a:pt x="53" y="173"/>
                  </a:moveTo>
                  <a:lnTo>
                    <a:pt x="53" y="173"/>
                  </a:lnTo>
                  <a:lnTo>
                    <a:pt x="47" y="173"/>
                  </a:lnTo>
                  <a:lnTo>
                    <a:pt x="40" y="169"/>
                  </a:lnTo>
                  <a:lnTo>
                    <a:pt x="36" y="168"/>
                  </a:lnTo>
                  <a:lnTo>
                    <a:pt x="31" y="163"/>
                  </a:lnTo>
                  <a:lnTo>
                    <a:pt x="27" y="158"/>
                  </a:lnTo>
                  <a:lnTo>
                    <a:pt x="24" y="153"/>
                  </a:lnTo>
                  <a:lnTo>
                    <a:pt x="23" y="146"/>
                  </a:lnTo>
                  <a:lnTo>
                    <a:pt x="21" y="140"/>
                  </a:lnTo>
                  <a:lnTo>
                    <a:pt x="21" y="140"/>
                  </a:lnTo>
                  <a:lnTo>
                    <a:pt x="23" y="133"/>
                  </a:lnTo>
                  <a:lnTo>
                    <a:pt x="24" y="127"/>
                  </a:lnTo>
                  <a:lnTo>
                    <a:pt x="27" y="122"/>
                  </a:lnTo>
                  <a:lnTo>
                    <a:pt x="31" y="117"/>
                  </a:lnTo>
                  <a:lnTo>
                    <a:pt x="36" y="114"/>
                  </a:lnTo>
                  <a:lnTo>
                    <a:pt x="40" y="111"/>
                  </a:lnTo>
                  <a:lnTo>
                    <a:pt x="47" y="109"/>
                  </a:lnTo>
                  <a:lnTo>
                    <a:pt x="53" y="107"/>
                  </a:lnTo>
                  <a:lnTo>
                    <a:pt x="53" y="107"/>
                  </a:lnTo>
                  <a:lnTo>
                    <a:pt x="60" y="109"/>
                  </a:lnTo>
                  <a:lnTo>
                    <a:pt x="67" y="111"/>
                  </a:lnTo>
                  <a:lnTo>
                    <a:pt x="71" y="114"/>
                  </a:lnTo>
                  <a:lnTo>
                    <a:pt x="76" y="117"/>
                  </a:lnTo>
                  <a:lnTo>
                    <a:pt x="81" y="122"/>
                  </a:lnTo>
                  <a:lnTo>
                    <a:pt x="83" y="127"/>
                  </a:lnTo>
                  <a:lnTo>
                    <a:pt x="86" y="133"/>
                  </a:lnTo>
                  <a:lnTo>
                    <a:pt x="86" y="140"/>
                  </a:lnTo>
                  <a:lnTo>
                    <a:pt x="86" y="140"/>
                  </a:lnTo>
                  <a:lnTo>
                    <a:pt x="86" y="146"/>
                  </a:lnTo>
                  <a:lnTo>
                    <a:pt x="83" y="153"/>
                  </a:lnTo>
                  <a:lnTo>
                    <a:pt x="81" y="158"/>
                  </a:lnTo>
                  <a:lnTo>
                    <a:pt x="76" y="163"/>
                  </a:lnTo>
                  <a:lnTo>
                    <a:pt x="71" y="168"/>
                  </a:lnTo>
                  <a:lnTo>
                    <a:pt x="67" y="169"/>
                  </a:lnTo>
                  <a:lnTo>
                    <a:pt x="60" y="173"/>
                  </a:lnTo>
                  <a:lnTo>
                    <a:pt x="53" y="173"/>
                  </a:lnTo>
                  <a:lnTo>
                    <a:pt x="53" y="1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>
                <a:defRPr/>
              </a:pPr>
              <a:endParaRPr lang="en-US" sz="135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5" name="Freeform 259"/>
            <p:cNvSpPr>
              <a:spLocks noEditPoints="1"/>
            </p:cNvSpPr>
            <p:nvPr/>
          </p:nvSpPr>
          <p:spPr bwMode="auto">
            <a:xfrm>
              <a:off x="5387798" y="2152828"/>
              <a:ext cx="157877" cy="666591"/>
            </a:xfrm>
            <a:custGeom>
              <a:avLst/>
              <a:gdLst>
                <a:gd name="T0" fmla="*/ 83 w 108"/>
                <a:gd name="T1" fmla="*/ 29 h 456"/>
                <a:gd name="T2" fmla="*/ 83 w 108"/>
                <a:gd name="T3" fmla="*/ 23 h 456"/>
                <a:gd name="T4" fmla="*/ 79 w 108"/>
                <a:gd name="T5" fmla="*/ 13 h 456"/>
                <a:gd name="T6" fmla="*/ 70 w 108"/>
                <a:gd name="T7" fmla="*/ 5 h 456"/>
                <a:gd name="T8" fmla="*/ 61 w 108"/>
                <a:gd name="T9" fmla="*/ 0 h 456"/>
                <a:gd name="T10" fmla="*/ 54 w 108"/>
                <a:gd name="T11" fmla="*/ 0 h 456"/>
                <a:gd name="T12" fmla="*/ 43 w 108"/>
                <a:gd name="T13" fmla="*/ 1 h 456"/>
                <a:gd name="T14" fmla="*/ 33 w 108"/>
                <a:gd name="T15" fmla="*/ 8 h 456"/>
                <a:gd name="T16" fmla="*/ 26 w 108"/>
                <a:gd name="T17" fmla="*/ 18 h 456"/>
                <a:gd name="T18" fmla="*/ 25 w 108"/>
                <a:gd name="T19" fmla="*/ 29 h 456"/>
                <a:gd name="T20" fmla="*/ 25 w 108"/>
                <a:gd name="T21" fmla="*/ 241 h 456"/>
                <a:gd name="T22" fmla="*/ 7 w 108"/>
                <a:gd name="T23" fmla="*/ 261 h 456"/>
                <a:gd name="T24" fmla="*/ 0 w 108"/>
                <a:gd name="T25" fmla="*/ 287 h 456"/>
                <a:gd name="T26" fmla="*/ 2 w 108"/>
                <a:gd name="T27" fmla="*/ 300 h 456"/>
                <a:gd name="T28" fmla="*/ 15 w 108"/>
                <a:gd name="T29" fmla="*/ 324 h 456"/>
                <a:gd name="T30" fmla="*/ 25 w 108"/>
                <a:gd name="T31" fmla="*/ 427 h 456"/>
                <a:gd name="T32" fmla="*/ 25 w 108"/>
                <a:gd name="T33" fmla="*/ 433 h 456"/>
                <a:gd name="T34" fmla="*/ 30 w 108"/>
                <a:gd name="T35" fmla="*/ 443 h 456"/>
                <a:gd name="T36" fmla="*/ 38 w 108"/>
                <a:gd name="T37" fmla="*/ 451 h 456"/>
                <a:gd name="T38" fmla="*/ 48 w 108"/>
                <a:gd name="T39" fmla="*/ 456 h 456"/>
                <a:gd name="T40" fmla="*/ 54 w 108"/>
                <a:gd name="T41" fmla="*/ 456 h 456"/>
                <a:gd name="T42" fmla="*/ 66 w 108"/>
                <a:gd name="T43" fmla="*/ 455 h 456"/>
                <a:gd name="T44" fmla="*/ 75 w 108"/>
                <a:gd name="T45" fmla="*/ 448 h 456"/>
                <a:gd name="T46" fmla="*/ 82 w 108"/>
                <a:gd name="T47" fmla="*/ 438 h 456"/>
                <a:gd name="T48" fmla="*/ 83 w 108"/>
                <a:gd name="T49" fmla="*/ 427 h 456"/>
                <a:gd name="T50" fmla="*/ 83 w 108"/>
                <a:gd name="T51" fmla="*/ 332 h 456"/>
                <a:gd name="T52" fmla="*/ 101 w 108"/>
                <a:gd name="T53" fmla="*/ 313 h 456"/>
                <a:gd name="T54" fmla="*/ 108 w 108"/>
                <a:gd name="T55" fmla="*/ 287 h 456"/>
                <a:gd name="T56" fmla="*/ 106 w 108"/>
                <a:gd name="T57" fmla="*/ 272 h 456"/>
                <a:gd name="T58" fmla="*/ 93 w 108"/>
                <a:gd name="T59" fmla="*/ 249 h 456"/>
                <a:gd name="T60" fmla="*/ 83 w 108"/>
                <a:gd name="T61" fmla="*/ 241 h 456"/>
                <a:gd name="T62" fmla="*/ 54 w 108"/>
                <a:gd name="T63" fmla="*/ 319 h 456"/>
                <a:gd name="T64" fmla="*/ 41 w 108"/>
                <a:gd name="T65" fmla="*/ 316 h 456"/>
                <a:gd name="T66" fmla="*/ 31 w 108"/>
                <a:gd name="T67" fmla="*/ 310 h 456"/>
                <a:gd name="T68" fmla="*/ 25 w 108"/>
                <a:gd name="T69" fmla="*/ 300 h 456"/>
                <a:gd name="T70" fmla="*/ 22 w 108"/>
                <a:gd name="T71" fmla="*/ 287 h 456"/>
                <a:gd name="T72" fmla="*/ 23 w 108"/>
                <a:gd name="T73" fmla="*/ 280 h 456"/>
                <a:gd name="T74" fmla="*/ 28 w 108"/>
                <a:gd name="T75" fmla="*/ 269 h 456"/>
                <a:gd name="T76" fmla="*/ 36 w 108"/>
                <a:gd name="T77" fmla="*/ 259 h 456"/>
                <a:gd name="T78" fmla="*/ 48 w 108"/>
                <a:gd name="T79" fmla="*/ 254 h 456"/>
                <a:gd name="T80" fmla="*/ 54 w 108"/>
                <a:gd name="T81" fmla="*/ 254 h 456"/>
                <a:gd name="T82" fmla="*/ 67 w 108"/>
                <a:gd name="T83" fmla="*/ 257 h 456"/>
                <a:gd name="T84" fmla="*/ 77 w 108"/>
                <a:gd name="T85" fmla="*/ 264 h 456"/>
                <a:gd name="T86" fmla="*/ 83 w 108"/>
                <a:gd name="T87" fmla="*/ 274 h 456"/>
                <a:gd name="T88" fmla="*/ 87 w 108"/>
                <a:gd name="T89" fmla="*/ 287 h 456"/>
                <a:gd name="T90" fmla="*/ 85 w 108"/>
                <a:gd name="T91" fmla="*/ 293 h 456"/>
                <a:gd name="T92" fmla="*/ 80 w 108"/>
                <a:gd name="T93" fmla="*/ 305 h 456"/>
                <a:gd name="T94" fmla="*/ 72 w 108"/>
                <a:gd name="T95" fmla="*/ 313 h 456"/>
                <a:gd name="T96" fmla="*/ 61 w 108"/>
                <a:gd name="T97" fmla="*/ 318 h 456"/>
                <a:gd name="T98" fmla="*/ 54 w 108"/>
                <a:gd name="T99" fmla="*/ 319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8" h="456">
                  <a:moveTo>
                    <a:pt x="83" y="241"/>
                  </a:moveTo>
                  <a:lnTo>
                    <a:pt x="83" y="29"/>
                  </a:lnTo>
                  <a:lnTo>
                    <a:pt x="83" y="29"/>
                  </a:lnTo>
                  <a:lnTo>
                    <a:pt x="83" y="23"/>
                  </a:lnTo>
                  <a:lnTo>
                    <a:pt x="82" y="18"/>
                  </a:lnTo>
                  <a:lnTo>
                    <a:pt x="79" y="13"/>
                  </a:lnTo>
                  <a:lnTo>
                    <a:pt x="75" y="8"/>
                  </a:lnTo>
                  <a:lnTo>
                    <a:pt x="70" y="5"/>
                  </a:lnTo>
                  <a:lnTo>
                    <a:pt x="66" y="1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48" y="0"/>
                  </a:lnTo>
                  <a:lnTo>
                    <a:pt x="43" y="1"/>
                  </a:lnTo>
                  <a:lnTo>
                    <a:pt x="38" y="5"/>
                  </a:lnTo>
                  <a:lnTo>
                    <a:pt x="33" y="8"/>
                  </a:lnTo>
                  <a:lnTo>
                    <a:pt x="30" y="13"/>
                  </a:lnTo>
                  <a:lnTo>
                    <a:pt x="26" y="18"/>
                  </a:lnTo>
                  <a:lnTo>
                    <a:pt x="25" y="23"/>
                  </a:lnTo>
                  <a:lnTo>
                    <a:pt x="25" y="29"/>
                  </a:lnTo>
                  <a:lnTo>
                    <a:pt x="25" y="241"/>
                  </a:lnTo>
                  <a:lnTo>
                    <a:pt x="25" y="241"/>
                  </a:lnTo>
                  <a:lnTo>
                    <a:pt x="15" y="249"/>
                  </a:lnTo>
                  <a:lnTo>
                    <a:pt x="7" y="261"/>
                  </a:lnTo>
                  <a:lnTo>
                    <a:pt x="2" y="272"/>
                  </a:lnTo>
                  <a:lnTo>
                    <a:pt x="0" y="287"/>
                  </a:lnTo>
                  <a:lnTo>
                    <a:pt x="0" y="287"/>
                  </a:lnTo>
                  <a:lnTo>
                    <a:pt x="2" y="300"/>
                  </a:lnTo>
                  <a:lnTo>
                    <a:pt x="7" y="313"/>
                  </a:lnTo>
                  <a:lnTo>
                    <a:pt x="15" y="324"/>
                  </a:lnTo>
                  <a:lnTo>
                    <a:pt x="25" y="332"/>
                  </a:lnTo>
                  <a:lnTo>
                    <a:pt x="25" y="427"/>
                  </a:lnTo>
                  <a:lnTo>
                    <a:pt x="25" y="427"/>
                  </a:lnTo>
                  <a:lnTo>
                    <a:pt x="25" y="433"/>
                  </a:lnTo>
                  <a:lnTo>
                    <a:pt x="26" y="438"/>
                  </a:lnTo>
                  <a:lnTo>
                    <a:pt x="30" y="443"/>
                  </a:lnTo>
                  <a:lnTo>
                    <a:pt x="33" y="448"/>
                  </a:lnTo>
                  <a:lnTo>
                    <a:pt x="38" y="451"/>
                  </a:lnTo>
                  <a:lnTo>
                    <a:pt x="43" y="455"/>
                  </a:lnTo>
                  <a:lnTo>
                    <a:pt x="48" y="456"/>
                  </a:lnTo>
                  <a:lnTo>
                    <a:pt x="54" y="456"/>
                  </a:lnTo>
                  <a:lnTo>
                    <a:pt x="54" y="456"/>
                  </a:lnTo>
                  <a:lnTo>
                    <a:pt x="61" y="456"/>
                  </a:lnTo>
                  <a:lnTo>
                    <a:pt x="66" y="455"/>
                  </a:lnTo>
                  <a:lnTo>
                    <a:pt x="70" y="451"/>
                  </a:lnTo>
                  <a:lnTo>
                    <a:pt x="75" y="448"/>
                  </a:lnTo>
                  <a:lnTo>
                    <a:pt x="79" y="443"/>
                  </a:lnTo>
                  <a:lnTo>
                    <a:pt x="82" y="438"/>
                  </a:lnTo>
                  <a:lnTo>
                    <a:pt x="83" y="433"/>
                  </a:lnTo>
                  <a:lnTo>
                    <a:pt x="83" y="427"/>
                  </a:lnTo>
                  <a:lnTo>
                    <a:pt x="83" y="332"/>
                  </a:lnTo>
                  <a:lnTo>
                    <a:pt x="83" y="332"/>
                  </a:lnTo>
                  <a:lnTo>
                    <a:pt x="93" y="324"/>
                  </a:lnTo>
                  <a:lnTo>
                    <a:pt x="101" y="313"/>
                  </a:lnTo>
                  <a:lnTo>
                    <a:pt x="106" y="300"/>
                  </a:lnTo>
                  <a:lnTo>
                    <a:pt x="108" y="287"/>
                  </a:lnTo>
                  <a:lnTo>
                    <a:pt x="108" y="287"/>
                  </a:lnTo>
                  <a:lnTo>
                    <a:pt x="106" y="272"/>
                  </a:lnTo>
                  <a:lnTo>
                    <a:pt x="101" y="261"/>
                  </a:lnTo>
                  <a:lnTo>
                    <a:pt x="93" y="249"/>
                  </a:lnTo>
                  <a:lnTo>
                    <a:pt x="83" y="241"/>
                  </a:lnTo>
                  <a:lnTo>
                    <a:pt x="83" y="241"/>
                  </a:lnTo>
                  <a:close/>
                  <a:moveTo>
                    <a:pt x="54" y="319"/>
                  </a:moveTo>
                  <a:lnTo>
                    <a:pt x="54" y="319"/>
                  </a:lnTo>
                  <a:lnTo>
                    <a:pt x="48" y="318"/>
                  </a:lnTo>
                  <a:lnTo>
                    <a:pt x="41" y="316"/>
                  </a:lnTo>
                  <a:lnTo>
                    <a:pt x="36" y="313"/>
                  </a:lnTo>
                  <a:lnTo>
                    <a:pt x="31" y="310"/>
                  </a:lnTo>
                  <a:lnTo>
                    <a:pt x="28" y="305"/>
                  </a:lnTo>
                  <a:lnTo>
                    <a:pt x="25" y="300"/>
                  </a:lnTo>
                  <a:lnTo>
                    <a:pt x="23" y="293"/>
                  </a:lnTo>
                  <a:lnTo>
                    <a:pt x="22" y="287"/>
                  </a:lnTo>
                  <a:lnTo>
                    <a:pt x="22" y="287"/>
                  </a:lnTo>
                  <a:lnTo>
                    <a:pt x="23" y="280"/>
                  </a:lnTo>
                  <a:lnTo>
                    <a:pt x="25" y="274"/>
                  </a:lnTo>
                  <a:lnTo>
                    <a:pt x="28" y="269"/>
                  </a:lnTo>
                  <a:lnTo>
                    <a:pt x="31" y="264"/>
                  </a:lnTo>
                  <a:lnTo>
                    <a:pt x="36" y="259"/>
                  </a:lnTo>
                  <a:lnTo>
                    <a:pt x="41" y="257"/>
                  </a:lnTo>
                  <a:lnTo>
                    <a:pt x="48" y="254"/>
                  </a:lnTo>
                  <a:lnTo>
                    <a:pt x="54" y="254"/>
                  </a:lnTo>
                  <a:lnTo>
                    <a:pt x="54" y="254"/>
                  </a:lnTo>
                  <a:lnTo>
                    <a:pt x="61" y="254"/>
                  </a:lnTo>
                  <a:lnTo>
                    <a:pt x="67" y="257"/>
                  </a:lnTo>
                  <a:lnTo>
                    <a:pt x="72" y="259"/>
                  </a:lnTo>
                  <a:lnTo>
                    <a:pt x="77" y="264"/>
                  </a:lnTo>
                  <a:lnTo>
                    <a:pt x="80" y="269"/>
                  </a:lnTo>
                  <a:lnTo>
                    <a:pt x="83" y="274"/>
                  </a:lnTo>
                  <a:lnTo>
                    <a:pt x="85" y="280"/>
                  </a:lnTo>
                  <a:lnTo>
                    <a:pt x="87" y="287"/>
                  </a:lnTo>
                  <a:lnTo>
                    <a:pt x="87" y="287"/>
                  </a:lnTo>
                  <a:lnTo>
                    <a:pt x="85" y="293"/>
                  </a:lnTo>
                  <a:lnTo>
                    <a:pt x="83" y="300"/>
                  </a:lnTo>
                  <a:lnTo>
                    <a:pt x="80" y="305"/>
                  </a:lnTo>
                  <a:lnTo>
                    <a:pt x="77" y="310"/>
                  </a:lnTo>
                  <a:lnTo>
                    <a:pt x="72" y="313"/>
                  </a:lnTo>
                  <a:lnTo>
                    <a:pt x="67" y="316"/>
                  </a:lnTo>
                  <a:lnTo>
                    <a:pt x="61" y="318"/>
                  </a:lnTo>
                  <a:lnTo>
                    <a:pt x="54" y="319"/>
                  </a:lnTo>
                  <a:lnTo>
                    <a:pt x="54" y="3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>
                <a:defRPr/>
              </a:pPr>
              <a:endParaRPr lang="en-US" sz="135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6" name="Freeform 260"/>
            <p:cNvSpPr>
              <a:spLocks noEditPoints="1"/>
            </p:cNvSpPr>
            <p:nvPr/>
          </p:nvSpPr>
          <p:spPr bwMode="auto">
            <a:xfrm>
              <a:off x="5599762" y="2152828"/>
              <a:ext cx="160801" cy="666591"/>
            </a:xfrm>
            <a:custGeom>
              <a:avLst/>
              <a:gdLst>
                <a:gd name="T0" fmla="*/ 85 w 110"/>
                <a:gd name="T1" fmla="*/ 29 h 456"/>
                <a:gd name="T2" fmla="*/ 84 w 110"/>
                <a:gd name="T3" fmla="*/ 23 h 456"/>
                <a:gd name="T4" fmla="*/ 80 w 110"/>
                <a:gd name="T5" fmla="*/ 13 h 456"/>
                <a:gd name="T6" fmla="*/ 72 w 110"/>
                <a:gd name="T7" fmla="*/ 5 h 456"/>
                <a:gd name="T8" fmla="*/ 61 w 110"/>
                <a:gd name="T9" fmla="*/ 0 h 456"/>
                <a:gd name="T10" fmla="*/ 56 w 110"/>
                <a:gd name="T11" fmla="*/ 0 h 456"/>
                <a:gd name="T12" fmla="*/ 44 w 110"/>
                <a:gd name="T13" fmla="*/ 1 h 456"/>
                <a:gd name="T14" fmla="*/ 35 w 110"/>
                <a:gd name="T15" fmla="*/ 8 h 456"/>
                <a:gd name="T16" fmla="*/ 28 w 110"/>
                <a:gd name="T17" fmla="*/ 18 h 456"/>
                <a:gd name="T18" fmla="*/ 26 w 110"/>
                <a:gd name="T19" fmla="*/ 29 h 456"/>
                <a:gd name="T20" fmla="*/ 26 w 110"/>
                <a:gd name="T21" fmla="*/ 78 h 456"/>
                <a:gd name="T22" fmla="*/ 9 w 110"/>
                <a:gd name="T23" fmla="*/ 98 h 456"/>
                <a:gd name="T24" fmla="*/ 0 w 110"/>
                <a:gd name="T25" fmla="*/ 124 h 456"/>
                <a:gd name="T26" fmla="*/ 4 w 110"/>
                <a:gd name="T27" fmla="*/ 137 h 456"/>
                <a:gd name="T28" fmla="*/ 17 w 110"/>
                <a:gd name="T29" fmla="*/ 161 h 456"/>
                <a:gd name="T30" fmla="*/ 26 w 110"/>
                <a:gd name="T31" fmla="*/ 427 h 456"/>
                <a:gd name="T32" fmla="*/ 26 w 110"/>
                <a:gd name="T33" fmla="*/ 433 h 456"/>
                <a:gd name="T34" fmla="*/ 31 w 110"/>
                <a:gd name="T35" fmla="*/ 443 h 456"/>
                <a:gd name="T36" fmla="*/ 40 w 110"/>
                <a:gd name="T37" fmla="*/ 451 h 456"/>
                <a:gd name="T38" fmla="*/ 49 w 110"/>
                <a:gd name="T39" fmla="*/ 456 h 456"/>
                <a:gd name="T40" fmla="*/ 56 w 110"/>
                <a:gd name="T41" fmla="*/ 456 h 456"/>
                <a:gd name="T42" fmla="*/ 67 w 110"/>
                <a:gd name="T43" fmla="*/ 455 h 456"/>
                <a:gd name="T44" fmla="*/ 75 w 110"/>
                <a:gd name="T45" fmla="*/ 448 h 456"/>
                <a:gd name="T46" fmla="*/ 82 w 110"/>
                <a:gd name="T47" fmla="*/ 438 h 456"/>
                <a:gd name="T48" fmla="*/ 85 w 110"/>
                <a:gd name="T49" fmla="*/ 427 h 456"/>
                <a:gd name="T50" fmla="*/ 85 w 110"/>
                <a:gd name="T51" fmla="*/ 169 h 456"/>
                <a:gd name="T52" fmla="*/ 103 w 110"/>
                <a:gd name="T53" fmla="*/ 150 h 456"/>
                <a:gd name="T54" fmla="*/ 110 w 110"/>
                <a:gd name="T55" fmla="*/ 124 h 456"/>
                <a:gd name="T56" fmla="*/ 108 w 110"/>
                <a:gd name="T57" fmla="*/ 109 h 456"/>
                <a:gd name="T58" fmla="*/ 95 w 110"/>
                <a:gd name="T59" fmla="*/ 86 h 456"/>
                <a:gd name="T60" fmla="*/ 85 w 110"/>
                <a:gd name="T61" fmla="*/ 78 h 456"/>
                <a:gd name="T62" fmla="*/ 56 w 110"/>
                <a:gd name="T63" fmla="*/ 156 h 456"/>
                <a:gd name="T64" fmla="*/ 43 w 110"/>
                <a:gd name="T65" fmla="*/ 153 h 456"/>
                <a:gd name="T66" fmla="*/ 33 w 110"/>
                <a:gd name="T67" fmla="*/ 146 h 456"/>
                <a:gd name="T68" fmla="*/ 25 w 110"/>
                <a:gd name="T69" fmla="*/ 137 h 456"/>
                <a:gd name="T70" fmla="*/ 23 w 110"/>
                <a:gd name="T71" fmla="*/ 124 h 456"/>
                <a:gd name="T72" fmla="*/ 23 w 110"/>
                <a:gd name="T73" fmla="*/ 117 h 456"/>
                <a:gd name="T74" fmla="*/ 28 w 110"/>
                <a:gd name="T75" fmla="*/ 106 h 456"/>
                <a:gd name="T76" fmla="*/ 38 w 110"/>
                <a:gd name="T77" fmla="*/ 98 h 456"/>
                <a:gd name="T78" fmla="*/ 49 w 110"/>
                <a:gd name="T79" fmla="*/ 93 h 456"/>
                <a:gd name="T80" fmla="*/ 56 w 110"/>
                <a:gd name="T81" fmla="*/ 91 h 456"/>
                <a:gd name="T82" fmla="*/ 67 w 110"/>
                <a:gd name="T83" fmla="*/ 94 h 456"/>
                <a:gd name="T84" fmla="*/ 79 w 110"/>
                <a:gd name="T85" fmla="*/ 101 h 456"/>
                <a:gd name="T86" fmla="*/ 85 w 110"/>
                <a:gd name="T87" fmla="*/ 111 h 456"/>
                <a:gd name="T88" fmla="*/ 88 w 110"/>
                <a:gd name="T89" fmla="*/ 124 h 456"/>
                <a:gd name="T90" fmla="*/ 87 w 110"/>
                <a:gd name="T91" fmla="*/ 130 h 456"/>
                <a:gd name="T92" fmla="*/ 82 w 110"/>
                <a:gd name="T93" fmla="*/ 142 h 456"/>
                <a:gd name="T94" fmla="*/ 74 w 110"/>
                <a:gd name="T95" fmla="*/ 150 h 456"/>
                <a:gd name="T96" fmla="*/ 62 w 110"/>
                <a:gd name="T97" fmla="*/ 155 h 456"/>
                <a:gd name="T98" fmla="*/ 56 w 110"/>
                <a:gd name="T99" fmla="*/ 156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0" h="456">
                  <a:moveTo>
                    <a:pt x="85" y="78"/>
                  </a:moveTo>
                  <a:lnTo>
                    <a:pt x="85" y="29"/>
                  </a:lnTo>
                  <a:lnTo>
                    <a:pt x="85" y="29"/>
                  </a:lnTo>
                  <a:lnTo>
                    <a:pt x="84" y="23"/>
                  </a:lnTo>
                  <a:lnTo>
                    <a:pt x="82" y="18"/>
                  </a:lnTo>
                  <a:lnTo>
                    <a:pt x="80" y="13"/>
                  </a:lnTo>
                  <a:lnTo>
                    <a:pt x="75" y="8"/>
                  </a:lnTo>
                  <a:lnTo>
                    <a:pt x="72" y="5"/>
                  </a:lnTo>
                  <a:lnTo>
                    <a:pt x="67" y="1"/>
                  </a:lnTo>
                  <a:lnTo>
                    <a:pt x="61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49" y="0"/>
                  </a:lnTo>
                  <a:lnTo>
                    <a:pt x="44" y="1"/>
                  </a:lnTo>
                  <a:lnTo>
                    <a:pt x="40" y="5"/>
                  </a:lnTo>
                  <a:lnTo>
                    <a:pt x="35" y="8"/>
                  </a:lnTo>
                  <a:lnTo>
                    <a:pt x="31" y="13"/>
                  </a:lnTo>
                  <a:lnTo>
                    <a:pt x="28" y="18"/>
                  </a:lnTo>
                  <a:lnTo>
                    <a:pt x="26" y="23"/>
                  </a:lnTo>
                  <a:lnTo>
                    <a:pt x="26" y="29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17" y="86"/>
                  </a:lnTo>
                  <a:lnTo>
                    <a:pt x="9" y="98"/>
                  </a:lnTo>
                  <a:lnTo>
                    <a:pt x="4" y="109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4" y="137"/>
                  </a:lnTo>
                  <a:lnTo>
                    <a:pt x="9" y="150"/>
                  </a:lnTo>
                  <a:lnTo>
                    <a:pt x="17" y="161"/>
                  </a:lnTo>
                  <a:lnTo>
                    <a:pt x="26" y="169"/>
                  </a:lnTo>
                  <a:lnTo>
                    <a:pt x="26" y="427"/>
                  </a:lnTo>
                  <a:lnTo>
                    <a:pt x="26" y="427"/>
                  </a:lnTo>
                  <a:lnTo>
                    <a:pt x="26" y="433"/>
                  </a:lnTo>
                  <a:lnTo>
                    <a:pt x="28" y="438"/>
                  </a:lnTo>
                  <a:lnTo>
                    <a:pt x="31" y="443"/>
                  </a:lnTo>
                  <a:lnTo>
                    <a:pt x="35" y="448"/>
                  </a:lnTo>
                  <a:lnTo>
                    <a:pt x="40" y="451"/>
                  </a:lnTo>
                  <a:lnTo>
                    <a:pt x="44" y="455"/>
                  </a:lnTo>
                  <a:lnTo>
                    <a:pt x="49" y="456"/>
                  </a:lnTo>
                  <a:lnTo>
                    <a:pt x="56" y="456"/>
                  </a:lnTo>
                  <a:lnTo>
                    <a:pt x="56" y="456"/>
                  </a:lnTo>
                  <a:lnTo>
                    <a:pt x="61" y="456"/>
                  </a:lnTo>
                  <a:lnTo>
                    <a:pt x="67" y="455"/>
                  </a:lnTo>
                  <a:lnTo>
                    <a:pt x="72" y="451"/>
                  </a:lnTo>
                  <a:lnTo>
                    <a:pt x="75" y="448"/>
                  </a:lnTo>
                  <a:lnTo>
                    <a:pt x="80" y="443"/>
                  </a:lnTo>
                  <a:lnTo>
                    <a:pt x="82" y="438"/>
                  </a:lnTo>
                  <a:lnTo>
                    <a:pt x="84" y="433"/>
                  </a:lnTo>
                  <a:lnTo>
                    <a:pt x="85" y="427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95" y="161"/>
                  </a:lnTo>
                  <a:lnTo>
                    <a:pt x="103" y="150"/>
                  </a:lnTo>
                  <a:lnTo>
                    <a:pt x="108" y="137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08" y="109"/>
                  </a:lnTo>
                  <a:lnTo>
                    <a:pt x="103" y="98"/>
                  </a:lnTo>
                  <a:lnTo>
                    <a:pt x="95" y="86"/>
                  </a:lnTo>
                  <a:lnTo>
                    <a:pt x="85" y="78"/>
                  </a:lnTo>
                  <a:lnTo>
                    <a:pt x="85" y="78"/>
                  </a:lnTo>
                  <a:close/>
                  <a:moveTo>
                    <a:pt x="56" y="156"/>
                  </a:moveTo>
                  <a:lnTo>
                    <a:pt x="56" y="156"/>
                  </a:lnTo>
                  <a:lnTo>
                    <a:pt x="49" y="155"/>
                  </a:lnTo>
                  <a:lnTo>
                    <a:pt x="43" y="153"/>
                  </a:lnTo>
                  <a:lnTo>
                    <a:pt x="38" y="150"/>
                  </a:lnTo>
                  <a:lnTo>
                    <a:pt x="33" y="146"/>
                  </a:lnTo>
                  <a:lnTo>
                    <a:pt x="28" y="142"/>
                  </a:lnTo>
                  <a:lnTo>
                    <a:pt x="25" y="137"/>
                  </a:lnTo>
                  <a:lnTo>
                    <a:pt x="23" y="130"/>
                  </a:lnTo>
                  <a:lnTo>
                    <a:pt x="23" y="124"/>
                  </a:lnTo>
                  <a:lnTo>
                    <a:pt x="23" y="124"/>
                  </a:lnTo>
                  <a:lnTo>
                    <a:pt x="23" y="117"/>
                  </a:lnTo>
                  <a:lnTo>
                    <a:pt x="25" y="111"/>
                  </a:lnTo>
                  <a:lnTo>
                    <a:pt x="28" y="106"/>
                  </a:lnTo>
                  <a:lnTo>
                    <a:pt x="33" y="101"/>
                  </a:lnTo>
                  <a:lnTo>
                    <a:pt x="38" y="98"/>
                  </a:lnTo>
                  <a:lnTo>
                    <a:pt x="43" y="94"/>
                  </a:lnTo>
                  <a:lnTo>
                    <a:pt x="49" y="93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62" y="93"/>
                  </a:lnTo>
                  <a:lnTo>
                    <a:pt x="67" y="94"/>
                  </a:lnTo>
                  <a:lnTo>
                    <a:pt x="74" y="98"/>
                  </a:lnTo>
                  <a:lnTo>
                    <a:pt x="79" y="101"/>
                  </a:lnTo>
                  <a:lnTo>
                    <a:pt x="82" y="106"/>
                  </a:lnTo>
                  <a:lnTo>
                    <a:pt x="85" y="111"/>
                  </a:lnTo>
                  <a:lnTo>
                    <a:pt x="87" y="117"/>
                  </a:lnTo>
                  <a:lnTo>
                    <a:pt x="88" y="124"/>
                  </a:lnTo>
                  <a:lnTo>
                    <a:pt x="88" y="124"/>
                  </a:lnTo>
                  <a:lnTo>
                    <a:pt x="87" y="130"/>
                  </a:lnTo>
                  <a:lnTo>
                    <a:pt x="85" y="137"/>
                  </a:lnTo>
                  <a:lnTo>
                    <a:pt x="82" y="142"/>
                  </a:lnTo>
                  <a:lnTo>
                    <a:pt x="79" y="146"/>
                  </a:lnTo>
                  <a:lnTo>
                    <a:pt x="74" y="150"/>
                  </a:lnTo>
                  <a:lnTo>
                    <a:pt x="67" y="153"/>
                  </a:lnTo>
                  <a:lnTo>
                    <a:pt x="62" y="155"/>
                  </a:lnTo>
                  <a:lnTo>
                    <a:pt x="56" y="156"/>
                  </a:lnTo>
                  <a:lnTo>
                    <a:pt x="56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>
                <a:defRPr/>
              </a:pPr>
              <a:endParaRPr lang="en-US" sz="135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57" name="Group 256"/>
          <p:cNvGrpSpPr/>
          <p:nvPr/>
        </p:nvGrpSpPr>
        <p:grpSpPr>
          <a:xfrm>
            <a:off x="766614" y="2725284"/>
            <a:ext cx="4214210" cy="344469"/>
            <a:chOff x="838200" y="3385182"/>
            <a:chExt cx="3188372" cy="358633"/>
          </a:xfrm>
        </p:grpSpPr>
        <p:cxnSp>
          <p:nvCxnSpPr>
            <p:cNvPr id="258" name="Straight Connector 257"/>
            <p:cNvCxnSpPr/>
            <p:nvPr/>
          </p:nvCxnSpPr>
          <p:spPr>
            <a:xfrm>
              <a:off x="3667939" y="3385182"/>
              <a:ext cx="358633" cy="358633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/>
            <p:cNvCxnSpPr/>
            <p:nvPr/>
          </p:nvCxnSpPr>
          <p:spPr>
            <a:xfrm flipH="1">
              <a:off x="838200" y="3385326"/>
              <a:ext cx="2828357" cy="0"/>
            </a:xfrm>
            <a:prstGeom prst="line">
              <a:avLst/>
            </a:prstGeom>
            <a:ln>
              <a:solidFill>
                <a:schemeClr val="tx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5" name="Freeform 5"/>
          <p:cNvSpPr>
            <a:spLocks/>
          </p:cNvSpPr>
          <p:nvPr/>
        </p:nvSpPr>
        <p:spPr bwMode="auto">
          <a:xfrm>
            <a:off x="6003037" y="2682393"/>
            <a:ext cx="1510860" cy="1763850"/>
          </a:xfrm>
          <a:custGeom>
            <a:avLst/>
            <a:gdLst>
              <a:gd name="T0" fmla="*/ 0 w 660"/>
              <a:gd name="T1" fmla="*/ 760 h 760"/>
              <a:gd name="T2" fmla="*/ 660 w 660"/>
              <a:gd name="T3" fmla="*/ 379 h 760"/>
              <a:gd name="T4" fmla="*/ 1 w 660"/>
              <a:gd name="T5" fmla="*/ 0 h 760"/>
              <a:gd name="T6" fmla="*/ 0 w 660"/>
              <a:gd name="T7" fmla="*/ 76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60" h="760">
                <a:moveTo>
                  <a:pt x="0" y="760"/>
                </a:moveTo>
                <a:cubicBezTo>
                  <a:pt x="660" y="379"/>
                  <a:pt x="660" y="379"/>
                  <a:pt x="660" y="379"/>
                </a:cubicBezTo>
                <a:cubicBezTo>
                  <a:pt x="529" y="152"/>
                  <a:pt x="284" y="0"/>
                  <a:pt x="1" y="0"/>
                </a:cubicBezTo>
                <a:cubicBezTo>
                  <a:pt x="0" y="760"/>
                  <a:pt x="0" y="760"/>
                  <a:pt x="0" y="76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b="1">
              <a:latin typeface="+mj-lt"/>
            </a:endParaRPr>
          </a:p>
        </p:txBody>
      </p:sp>
      <p:sp>
        <p:nvSpPr>
          <p:cNvPr id="156" name="Freeform 6"/>
          <p:cNvSpPr>
            <a:spLocks/>
          </p:cNvSpPr>
          <p:nvPr/>
        </p:nvSpPr>
        <p:spPr bwMode="auto">
          <a:xfrm>
            <a:off x="6003037" y="2682393"/>
            <a:ext cx="1510860" cy="1763850"/>
          </a:xfrm>
          <a:custGeom>
            <a:avLst/>
            <a:gdLst>
              <a:gd name="T0" fmla="*/ 0 w 660"/>
              <a:gd name="T1" fmla="*/ 760 h 760"/>
              <a:gd name="T2" fmla="*/ 660 w 660"/>
              <a:gd name="T3" fmla="*/ 379 h 760"/>
              <a:gd name="T4" fmla="*/ 1 w 660"/>
              <a:gd name="T5" fmla="*/ 0 h 760"/>
              <a:gd name="T6" fmla="*/ 0 w 660"/>
              <a:gd name="T7" fmla="*/ 76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60" h="760">
                <a:moveTo>
                  <a:pt x="0" y="760"/>
                </a:moveTo>
                <a:cubicBezTo>
                  <a:pt x="660" y="379"/>
                  <a:pt x="660" y="379"/>
                  <a:pt x="660" y="379"/>
                </a:cubicBezTo>
                <a:cubicBezTo>
                  <a:pt x="529" y="152"/>
                  <a:pt x="284" y="0"/>
                  <a:pt x="1" y="0"/>
                </a:cubicBezTo>
                <a:cubicBezTo>
                  <a:pt x="0" y="760"/>
                  <a:pt x="0" y="760"/>
                  <a:pt x="0" y="76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22225" cap="flat">
            <a:solidFill>
              <a:srgbClr val="FFFFFF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b="1">
              <a:latin typeface="+mj-lt"/>
            </a:endParaRPr>
          </a:p>
        </p:txBody>
      </p:sp>
      <p:sp>
        <p:nvSpPr>
          <p:cNvPr id="157" name="Freeform 7"/>
          <p:cNvSpPr>
            <a:spLocks/>
          </p:cNvSpPr>
          <p:nvPr/>
        </p:nvSpPr>
        <p:spPr bwMode="auto">
          <a:xfrm>
            <a:off x="6003037" y="3561866"/>
            <a:ext cx="1743003" cy="1768752"/>
          </a:xfrm>
          <a:custGeom>
            <a:avLst/>
            <a:gdLst>
              <a:gd name="T0" fmla="*/ 0 w 761"/>
              <a:gd name="T1" fmla="*/ 381 h 762"/>
              <a:gd name="T2" fmla="*/ 660 w 761"/>
              <a:gd name="T3" fmla="*/ 762 h 762"/>
              <a:gd name="T4" fmla="*/ 761 w 761"/>
              <a:gd name="T5" fmla="*/ 381 h 762"/>
              <a:gd name="T6" fmla="*/ 660 w 761"/>
              <a:gd name="T7" fmla="*/ 0 h 762"/>
              <a:gd name="T8" fmla="*/ 0 w 761"/>
              <a:gd name="T9" fmla="*/ 381 h 7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1" h="762">
                <a:moveTo>
                  <a:pt x="0" y="381"/>
                </a:moveTo>
                <a:cubicBezTo>
                  <a:pt x="660" y="762"/>
                  <a:pt x="660" y="762"/>
                  <a:pt x="660" y="762"/>
                </a:cubicBezTo>
                <a:cubicBezTo>
                  <a:pt x="724" y="651"/>
                  <a:pt x="761" y="521"/>
                  <a:pt x="761" y="381"/>
                </a:cubicBezTo>
                <a:cubicBezTo>
                  <a:pt x="761" y="242"/>
                  <a:pt x="724" y="112"/>
                  <a:pt x="660" y="0"/>
                </a:cubicBezTo>
                <a:cubicBezTo>
                  <a:pt x="0" y="381"/>
                  <a:pt x="0" y="381"/>
                  <a:pt x="0" y="381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b="1">
              <a:latin typeface="+mj-lt"/>
            </a:endParaRPr>
          </a:p>
        </p:txBody>
      </p:sp>
      <p:sp>
        <p:nvSpPr>
          <p:cNvPr id="158" name="Freeform 8"/>
          <p:cNvSpPr>
            <a:spLocks/>
          </p:cNvSpPr>
          <p:nvPr/>
        </p:nvSpPr>
        <p:spPr bwMode="auto">
          <a:xfrm>
            <a:off x="6003037" y="3561866"/>
            <a:ext cx="1743003" cy="1768752"/>
          </a:xfrm>
          <a:custGeom>
            <a:avLst/>
            <a:gdLst>
              <a:gd name="T0" fmla="*/ 0 w 761"/>
              <a:gd name="T1" fmla="*/ 381 h 762"/>
              <a:gd name="T2" fmla="*/ 660 w 761"/>
              <a:gd name="T3" fmla="*/ 762 h 762"/>
              <a:gd name="T4" fmla="*/ 761 w 761"/>
              <a:gd name="T5" fmla="*/ 381 h 762"/>
              <a:gd name="T6" fmla="*/ 660 w 761"/>
              <a:gd name="T7" fmla="*/ 0 h 762"/>
              <a:gd name="T8" fmla="*/ 0 w 761"/>
              <a:gd name="T9" fmla="*/ 381 h 7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1" h="762">
                <a:moveTo>
                  <a:pt x="0" y="381"/>
                </a:moveTo>
                <a:cubicBezTo>
                  <a:pt x="660" y="762"/>
                  <a:pt x="660" y="762"/>
                  <a:pt x="660" y="762"/>
                </a:cubicBezTo>
                <a:cubicBezTo>
                  <a:pt x="724" y="651"/>
                  <a:pt x="761" y="521"/>
                  <a:pt x="761" y="381"/>
                </a:cubicBezTo>
                <a:cubicBezTo>
                  <a:pt x="761" y="242"/>
                  <a:pt x="724" y="112"/>
                  <a:pt x="660" y="0"/>
                </a:cubicBezTo>
                <a:cubicBezTo>
                  <a:pt x="0" y="381"/>
                  <a:pt x="0" y="381"/>
                  <a:pt x="0" y="381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22225" cap="flat">
            <a:solidFill>
              <a:srgbClr val="FFFFFF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b="1">
              <a:latin typeface="+mj-lt"/>
            </a:endParaRPr>
          </a:p>
        </p:txBody>
      </p:sp>
      <p:sp>
        <p:nvSpPr>
          <p:cNvPr id="159" name="Freeform 9"/>
          <p:cNvSpPr>
            <a:spLocks/>
          </p:cNvSpPr>
          <p:nvPr/>
        </p:nvSpPr>
        <p:spPr bwMode="auto">
          <a:xfrm>
            <a:off x="6003037" y="4446242"/>
            <a:ext cx="1510860" cy="1765811"/>
          </a:xfrm>
          <a:custGeom>
            <a:avLst/>
            <a:gdLst>
              <a:gd name="T0" fmla="*/ 0 w 660"/>
              <a:gd name="T1" fmla="*/ 0 h 761"/>
              <a:gd name="T2" fmla="*/ 1 w 660"/>
              <a:gd name="T3" fmla="*/ 761 h 761"/>
              <a:gd name="T4" fmla="*/ 660 w 660"/>
              <a:gd name="T5" fmla="*/ 381 h 761"/>
              <a:gd name="T6" fmla="*/ 0 w 660"/>
              <a:gd name="T7" fmla="*/ 0 h 7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60" h="761">
                <a:moveTo>
                  <a:pt x="0" y="0"/>
                </a:moveTo>
                <a:cubicBezTo>
                  <a:pt x="1" y="761"/>
                  <a:pt x="1" y="761"/>
                  <a:pt x="1" y="761"/>
                </a:cubicBezTo>
                <a:cubicBezTo>
                  <a:pt x="284" y="761"/>
                  <a:pt x="529" y="609"/>
                  <a:pt x="660" y="381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b="1">
              <a:latin typeface="+mj-lt"/>
            </a:endParaRPr>
          </a:p>
        </p:txBody>
      </p:sp>
      <p:sp>
        <p:nvSpPr>
          <p:cNvPr id="160" name="Freeform 10"/>
          <p:cNvSpPr>
            <a:spLocks/>
          </p:cNvSpPr>
          <p:nvPr/>
        </p:nvSpPr>
        <p:spPr bwMode="auto">
          <a:xfrm>
            <a:off x="6003037" y="4446242"/>
            <a:ext cx="1510860" cy="1765811"/>
          </a:xfrm>
          <a:custGeom>
            <a:avLst/>
            <a:gdLst>
              <a:gd name="T0" fmla="*/ 0 w 660"/>
              <a:gd name="T1" fmla="*/ 0 h 761"/>
              <a:gd name="T2" fmla="*/ 1 w 660"/>
              <a:gd name="T3" fmla="*/ 761 h 761"/>
              <a:gd name="T4" fmla="*/ 660 w 660"/>
              <a:gd name="T5" fmla="*/ 381 h 761"/>
              <a:gd name="T6" fmla="*/ 0 w 660"/>
              <a:gd name="T7" fmla="*/ 0 h 7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60" h="761">
                <a:moveTo>
                  <a:pt x="0" y="0"/>
                </a:moveTo>
                <a:cubicBezTo>
                  <a:pt x="1" y="761"/>
                  <a:pt x="1" y="761"/>
                  <a:pt x="1" y="761"/>
                </a:cubicBezTo>
                <a:cubicBezTo>
                  <a:pt x="284" y="761"/>
                  <a:pt x="529" y="609"/>
                  <a:pt x="660" y="381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22225" cap="flat">
            <a:solidFill>
              <a:srgbClr val="FFFFFF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b="1">
              <a:latin typeface="+mj-lt"/>
            </a:endParaRPr>
          </a:p>
        </p:txBody>
      </p:sp>
      <p:sp>
        <p:nvSpPr>
          <p:cNvPr id="161" name="Freeform 11"/>
          <p:cNvSpPr>
            <a:spLocks/>
          </p:cNvSpPr>
          <p:nvPr/>
        </p:nvSpPr>
        <p:spPr bwMode="auto">
          <a:xfrm>
            <a:off x="4495079" y="4446242"/>
            <a:ext cx="1510860" cy="1765811"/>
          </a:xfrm>
          <a:custGeom>
            <a:avLst/>
            <a:gdLst>
              <a:gd name="T0" fmla="*/ 659 w 660"/>
              <a:gd name="T1" fmla="*/ 0 h 761"/>
              <a:gd name="T2" fmla="*/ 0 w 660"/>
              <a:gd name="T3" fmla="*/ 381 h 761"/>
              <a:gd name="T4" fmla="*/ 659 w 660"/>
              <a:gd name="T5" fmla="*/ 761 h 761"/>
              <a:gd name="T6" fmla="*/ 660 w 660"/>
              <a:gd name="T7" fmla="*/ 761 h 761"/>
              <a:gd name="T8" fmla="*/ 659 w 660"/>
              <a:gd name="T9" fmla="*/ 0 h 7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60" h="761">
                <a:moveTo>
                  <a:pt x="659" y="0"/>
                </a:moveTo>
                <a:cubicBezTo>
                  <a:pt x="0" y="381"/>
                  <a:pt x="0" y="381"/>
                  <a:pt x="0" y="381"/>
                </a:cubicBezTo>
                <a:cubicBezTo>
                  <a:pt x="131" y="609"/>
                  <a:pt x="376" y="761"/>
                  <a:pt x="659" y="761"/>
                </a:cubicBezTo>
                <a:cubicBezTo>
                  <a:pt x="659" y="761"/>
                  <a:pt x="660" y="761"/>
                  <a:pt x="660" y="761"/>
                </a:cubicBezTo>
                <a:cubicBezTo>
                  <a:pt x="659" y="0"/>
                  <a:pt x="659" y="0"/>
                  <a:pt x="659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b="1">
              <a:latin typeface="+mj-lt"/>
            </a:endParaRPr>
          </a:p>
        </p:txBody>
      </p:sp>
      <p:sp>
        <p:nvSpPr>
          <p:cNvPr id="162" name="Freeform 12"/>
          <p:cNvSpPr>
            <a:spLocks/>
          </p:cNvSpPr>
          <p:nvPr/>
        </p:nvSpPr>
        <p:spPr bwMode="auto">
          <a:xfrm>
            <a:off x="4495079" y="4446242"/>
            <a:ext cx="1510860" cy="1765811"/>
          </a:xfrm>
          <a:custGeom>
            <a:avLst/>
            <a:gdLst>
              <a:gd name="T0" fmla="*/ 659 w 660"/>
              <a:gd name="T1" fmla="*/ 0 h 761"/>
              <a:gd name="T2" fmla="*/ 0 w 660"/>
              <a:gd name="T3" fmla="*/ 381 h 761"/>
              <a:gd name="T4" fmla="*/ 659 w 660"/>
              <a:gd name="T5" fmla="*/ 761 h 761"/>
              <a:gd name="T6" fmla="*/ 660 w 660"/>
              <a:gd name="T7" fmla="*/ 761 h 761"/>
              <a:gd name="T8" fmla="*/ 659 w 660"/>
              <a:gd name="T9" fmla="*/ 0 h 7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60" h="761">
                <a:moveTo>
                  <a:pt x="659" y="0"/>
                </a:moveTo>
                <a:cubicBezTo>
                  <a:pt x="0" y="381"/>
                  <a:pt x="0" y="381"/>
                  <a:pt x="0" y="381"/>
                </a:cubicBezTo>
                <a:cubicBezTo>
                  <a:pt x="131" y="609"/>
                  <a:pt x="376" y="761"/>
                  <a:pt x="659" y="761"/>
                </a:cubicBezTo>
                <a:cubicBezTo>
                  <a:pt x="659" y="761"/>
                  <a:pt x="660" y="761"/>
                  <a:pt x="660" y="761"/>
                </a:cubicBezTo>
                <a:cubicBezTo>
                  <a:pt x="659" y="0"/>
                  <a:pt x="659" y="0"/>
                  <a:pt x="659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22225" cap="flat">
            <a:solidFill>
              <a:srgbClr val="FFFFFF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b="1">
              <a:latin typeface="+mj-lt"/>
            </a:endParaRPr>
          </a:p>
        </p:txBody>
      </p:sp>
      <p:sp>
        <p:nvSpPr>
          <p:cNvPr id="163" name="Freeform 13"/>
          <p:cNvSpPr>
            <a:spLocks/>
          </p:cNvSpPr>
          <p:nvPr/>
        </p:nvSpPr>
        <p:spPr bwMode="auto">
          <a:xfrm>
            <a:off x="4263904" y="3561866"/>
            <a:ext cx="1739133" cy="1768752"/>
          </a:xfrm>
          <a:custGeom>
            <a:avLst/>
            <a:gdLst>
              <a:gd name="T0" fmla="*/ 760 w 760"/>
              <a:gd name="T1" fmla="*/ 381 h 762"/>
              <a:gd name="T2" fmla="*/ 101 w 760"/>
              <a:gd name="T3" fmla="*/ 0 h 762"/>
              <a:gd name="T4" fmla="*/ 0 w 760"/>
              <a:gd name="T5" fmla="*/ 381 h 762"/>
              <a:gd name="T6" fmla="*/ 101 w 760"/>
              <a:gd name="T7" fmla="*/ 762 h 762"/>
              <a:gd name="T8" fmla="*/ 760 w 760"/>
              <a:gd name="T9" fmla="*/ 381 h 7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0" h="762">
                <a:moveTo>
                  <a:pt x="760" y="381"/>
                </a:moveTo>
                <a:cubicBezTo>
                  <a:pt x="101" y="0"/>
                  <a:pt x="101" y="0"/>
                  <a:pt x="101" y="0"/>
                </a:cubicBezTo>
                <a:cubicBezTo>
                  <a:pt x="36" y="112"/>
                  <a:pt x="0" y="242"/>
                  <a:pt x="0" y="381"/>
                </a:cubicBezTo>
                <a:cubicBezTo>
                  <a:pt x="0" y="521"/>
                  <a:pt x="36" y="651"/>
                  <a:pt x="101" y="762"/>
                </a:cubicBezTo>
                <a:cubicBezTo>
                  <a:pt x="760" y="381"/>
                  <a:pt x="760" y="381"/>
                  <a:pt x="760" y="381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b="1">
              <a:latin typeface="+mj-lt"/>
            </a:endParaRPr>
          </a:p>
        </p:txBody>
      </p:sp>
      <p:sp>
        <p:nvSpPr>
          <p:cNvPr id="164" name="Freeform 14"/>
          <p:cNvSpPr>
            <a:spLocks/>
          </p:cNvSpPr>
          <p:nvPr/>
        </p:nvSpPr>
        <p:spPr bwMode="auto">
          <a:xfrm>
            <a:off x="4263904" y="3561866"/>
            <a:ext cx="1739133" cy="1768752"/>
          </a:xfrm>
          <a:custGeom>
            <a:avLst/>
            <a:gdLst>
              <a:gd name="T0" fmla="*/ 760 w 760"/>
              <a:gd name="T1" fmla="*/ 381 h 762"/>
              <a:gd name="T2" fmla="*/ 101 w 760"/>
              <a:gd name="T3" fmla="*/ 0 h 762"/>
              <a:gd name="T4" fmla="*/ 0 w 760"/>
              <a:gd name="T5" fmla="*/ 381 h 762"/>
              <a:gd name="T6" fmla="*/ 101 w 760"/>
              <a:gd name="T7" fmla="*/ 762 h 762"/>
              <a:gd name="T8" fmla="*/ 760 w 760"/>
              <a:gd name="T9" fmla="*/ 381 h 7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0" h="762">
                <a:moveTo>
                  <a:pt x="760" y="381"/>
                </a:moveTo>
                <a:cubicBezTo>
                  <a:pt x="101" y="0"/>
                  <a:pt x="101" y="0"/>
                  <a:pt x="101" y="0"/>
                </a:cubicBezTo>
                <a:cubicBezTo>
                  <a:pt x="36" y="112"/>
                  <a:pt x="0" y="242"/>
                  <a:pt x="0" y="381"/>
                </a:cubicBezTo>
                <a:cubicBezTo>
                  <a:pt x="0" y="521"/>
                  <a:pt x="36" y="651"/>
                  <a:pt x="101" y="762"/>
                </a:cubicBezTo>
                <a:cubicBezTo>
                  <a:pt x="760" y="381"/>
                  <a:pt x="760" y="381"/>
                  <a:pt x="760" y="381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22225" cap="flat">
            <a:solidFill>
              <a:srgbClr val="FFFFFF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b="1">
              <a:latin typeface="+mj-lt"/>
            </a:endParaRPr>
          </a:p>
        </p:txBody>
      </p:sp>
      <p:sp>
        <p:nvSpPr>
          <p:cNvPr id="165" name="Freeform 15"/>
          <p:cNvSpPr>
            <a:spLocks/>
          </p:cNvSpPr>
          <p:nvPr/>
        </p:nvSpPr>
        <p:spPr bwMode="auto">
          <a:xfrm>
            <a:off x="4495079" y="2682393"/>
            <a:ext cx="1507959" cy="1763850"/>
          </a:xfrm>
          <a:custGeom>
            <a:avLst/>
            <a:gdLst>
              <a:gd name="T0" fmla="*/ 659 w 659"/>
              <a:gd name="T1" fmla="*/ 760 h 760"/>
              <a:gd name="T2" fmla="*/ 659 w 659"/>
              <a:gd name="T3" fmla="*/ 0 h 760"/>
              <a:gd name="T4" fmla="*/ 0 w 659"/>
              <a:gd name="T5" fmla="*/ 379 h 760"/>
              <a:gd name="T6" fmla="*/ 659 w 659"/>
              <a:gd name="T7" fmla="*/ 76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59" h="760">
                <a:moveTo>
                  <a:pt x="659" y="760"/>
                </a:moveTo>
                <a:cubicBezTo>
                  <a:pt x="659" y="0"/>
                  <a:pt x="659" y="0"/>
                  <a:pt x="659" y="0"/>
                </a:cubicBezTo>
                <a:cubicBezTo>
                  <a:pt x="376" y="0"/>
                  <a:pt x="130" y="152"/>
                  <a:pt x="0" y="379"/>
                </a:cubicBezTo>
                <a:cubicBezTo>
                  <a:pt x="659" y="760"/>
                  <a:pt x="659" y="760"/>
                  <a:pt x="659" y="76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b="1">
              <a:latin typeface="+mj-lt"/>
            </a:endParaRPr>
          </a:p>
        </p:txBody>
      </p:sp>
      <p:sp>
        <p:nvSpPr>
          <p:cNvPr id="166" name="Freeform 16"/>
          <p:cNvSpPr>
            <a:spLocks/>
          </p:cNvSpPr>
          <p:nvPr/>
        </p:nvSpPr>
        <p:spPr bwMode="auto">
          <a:xfrm>
            <a:off x="4495079" y="2682393"/>
            <a:ext cx="1507959" cy="1763850"/>
          </a:xfrm>
          <a:custGeom>
            <a:avLst/>
            <a:gdLst>
              <a:gd name="T0" fmla="*/ 659 w 659"/>
              <a:gd name="T1" fmla="*/ 760 h 760"/>
              <a:gd name="T2" fmla="*/ 659 w 659"/>
              <a:gd name="T3" fmla="*/ 0 h 760"/>
              <a:gd name="T4" fmla="*/ 0 w 659"/>
              <a:gd name="T5" fmla="*/ 379 h 760"/>
              <a:gd name="T6" fmla="*/ 659 w 659"/>
              <a:gd name="T7" fmla="*/ 76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59" h="760">
                <a:moveTo>
                  <a:pt x="659" y="760"/>
                </a:moveTo>
                <a:cubicBezTo>
                  <a:pt x="659" y="0"/>
                  <a:pt x="659" y="0"/>
                  <a:pt x="659" y="0"/>
                </a:cubicBezTo>
                <a:cubicBezTo>
                  <a:pt x="376" y="0"/>
                  <a:pt x="130" y="152"/>
                  <a:pt x="0" y="379"/>
                </a:cubicBezTo>
                <a:cubicBezTo>
                  <a:pt x="659" y="760"/>
                  <a:pt x="659" y="760"/>
                  <a:pt x="659" y="76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22225" cap="flat">
            <a:solidFill>
              <a:srgbClr val="FFFFFF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b="1">
              <a:latin typeface="+mj-lt"/>
            </a:endParaRPr>
          </a:p>
        </p:txBody>
      </p:sp>
      <p:sp>
        <p:nvSpPr>
          <p:cNvPr id="196" name="Oval 8"/>
          <p:cNvSpPr>
            <a:spLocks noChangeArrowheads="1"/>
          </p:cNvSpPr>
          <p:nvPr/>
        </p:nvSpPr>
        <p:spPr bwMode="auto">
          <a:xfrm>
            <a:off x="5089704" y="3520935"/>
            <a:ext cx="1772204" cy="1795269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</a:endParaRPr>
          </a:p>
        </p:txBody>
      </p:sp>
      <p:grpSp>
        <p:nvGrpSpPr>
          <p:cNvPr id="197" name="Group 196"/>
          <p:cNvGrpSpPr/>
          <p:nvPr/>
        </p:nvGrpSpPr>
        <p:grpSpPr>
          <a:xfrm>
            <a:off x="5142870" y="3577073"/>
            <a:ext cx="1663656" cy="1686364"/>
            <a:chOff x="4902201" y="2746375"/>
            <a:chExt cx="2384425" cy="2384426"/>
          </a:xfrm>
        </p:grpSpPr>
        <p:sp>
          <p:nvSpPr>
            <p:cNvPr id="198" name="Rectangle 29"/>
            <p:cNvSpPr>
              <a:spLocks noChangeArrowheads="1"/>
            </p:cNvSpPr>
            <p:nvPr/>
          </p:nvSpPr>
          <p:spPr bwMode="auto">
            <a:xfrm>
              <a:off x="6091238" y="2746375"/>
              <a:ext cx="11113" cy="87313"/>
            </a:xfrm>
            <a:prstGeom prst="rect">
              <a:avLst/>
            </a:pr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199" name="Rectangle 30"/>
            <p:cNvSpPr>
              <a:spLocks noChangeArrowheads="1"/>
            </p:cNvSpPr>
            <p:nvPr/>
          </p:nvSpPr>
          <p:spPr bwMode="auto">
            <a:xfrm>
              <a:off x="6094413" y="2762250"/>
              <a:ext cx="3175" cy="55563"/>
            </a:xfrm>
            <a:prstGeom prst="rect">
              <a:avLst/>
            </a:pr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00" name="Freeform 31"/>
            <p:cNvSpPr>
              <a:spLocks/>
            </p:cNvSpPr>
            <p:nvPr/>
          </p:nvSpPr>
          <p:spPr bwMode="auto">
            <a:xfrm>
              <a:off x="5888038" y="2779713"/>
              <a:ext cx="14288" cy="53975"/>
            </a:xfrm>
            <a:custGeom>
              <a:avLst/>
              <a:gdLst>
                <a:gd name="T0" fmla="*/ 9 w 9"/>
                <a:gd name="T1" fmla="*/ 34 h 34"/>
                <a:gd name="T2" fmla="*/ 7 w 9"/>
                <a:gd name="T3" fmla="*/ 34 h 34"/>
                <a:gd name="T4" fmla="*/ 0 w 9"/>
                <a:gd name="T5" fmla="*/ 0 h 34"/>
                <a:gd name="T6" fmla="*/ 4 w 9"/>
                <a:gd name="T7" fmla="*/ 0 h 34"/>
                <a:gd name="T8" fmla="*/ 9 w 9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4">
                  <a:moveTo>
                    <a:pt x="9" y="34"/>
                  </a:moveTo>
                  <a:lnTo>
                    <a:pt x="7" y="34"/>
                  </a:lnTo>
                  <a:lnTo>
                    <a:pt x="0" y="0"/>
                  </a:lnTo>
                  <a:lnTo>
                    <a:pt x="4" y="0"/>
                  </a:lnTo>
                  <a:lnTo>
                    <a:pt x="9" y="34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01" name="Freeform 32"/>
            <p:cNvSpPr>
              <a:spLocks/>
            </p:cNvSpPr>
            <p:nvPr/>
          </p:nvSpPr>
          <p:spPr bwMode="auto">
            <a:xfrm>
              <a:off x="5691188" y="2833688"/>
              <a:ext cx="23813" cy="52388"/>
            </a:xfrm>
            <a:custGeom>
              <a:avLst/>
              <a:gdLst>
                <a:gd name="T0" fmla="*/ 15 w 15"/>
                <a:gd name="T1" fmla="*/ 30 h 33"/>
                <a:gd name="T2" fmla="*/ 12 w 15"/>
                <a:gd name="T3" fmla="*/ 33 h 33"/>
                <a:gd name="T4" fmla="*/ 0 w 15"/>
                <a:gd name="T5" fmla="*/ 0 h 33"/>
                <a:gd name="T6" fmla="*/ 3 w 15"/>
                <a:gd name="T7" fmla="*/ 0 h 33"/>
                <a:gd name="T8" fmla="*/ 15 w 15"/>
                <a:gd name="T9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33">
                  <a:moveTo>
                    <a:pt x="15" y="30"/>
                  </a:moveTo>
                  <a:lnTo>
                    <a:pt x="12" y="33"/>
                  </a:lnTo>
                  <a:lnTo>
                    <a:pt x="0" y="0"/>
                  </a:lnTo>
                  <a:lnTo>
                    <a:pt x="3" y="0"/>
                  </a:lnTo>
                  <a:lnTo>
                    <a:pt x="15" y="30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02" name="Freeform 33"/>
            <p:cNvSpPr>
              <a:spLocks/>
            </p:cNvSpPr>
            <p:nvPr/>
          </p:nvSpPr>
          <p:spPr bwMode="auto">
            <a:xfrm>
              <a:off x="5503863" y="2919413"/>
              <a:ext cx="33338" cy="49213"/>
            </a:xfrm>
            <a:custGeom>
              <a:avLst/>
              <a:gdLst>
                <a:gd name="T0" fmla="*/ 21 w 21"/>
                <a:gd name="T1" fmla="*/ 28 h 31"/>
                <a:gd name="T2" fmla="*/ 19 w 21"/>
                <a:gd name="T3" fmla="*/ 31 h 31"/>
                <a:gd name="T4" fmla="*/ 0 w 21"/>
                <a:gd name="T5" fmla="*/ 0 h 31"/>
                <a:gd name="T6" fmla="*/ 5 w 21"/>
                <a:gd name="T7" fmla="*/ 0 h 31"/>
                <a:gd name="T8" fmla="*/ 21 w 21"/>
                <a:gd name="T9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31">
                  <a:moveTo>
                    <a:pt x="21" y="28"/>
                  </a:moveTo>
                  <a:lnTo>
                    <a:pt x="19" y="31"/>
                  </a:lnTo>
                  <a:lnTo>
                    <a:pt x="0" y="0"/>
                  </a:lnTo>
                  <a:lnTo>
                    <a:pt x="5" y="0"/>
                  </a:lnTo>
                  <a:lnTo>
                    <a:pt x="21" y="28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03" name="Freeform 34"/>
            <p:cNvSpPr>
              <a:spLocks/>
            </p:cNvSpPr>
            <p:nvPr/>
          </p:nvSpPr>
          <p:spPr bwMode="auto">
            <a:xfrm>
              <a:off x="5338763" y="3035300"/>
              <a:ext cx="36513" cy="46038"/>
            </a:xfrm>
            <a:custGeom>
              <a:avLst/>
              <a:gdLst>
                <a:gd name="T0" fmla="*/ 23 w 23"/>
                <a:gd name="T1" fmla="*/ 27 h 29"/>
                <a:gd name="T2" fmla="*/ 21 w 23"/>
                <a:gd name="T3" fmla="*/ 29 h 29"/>
                <a:gd name="T4" fmla="*/ 0 w 23"/>
                <a:gd name="T5" fmla="*/ 3 h 29"/>
                <a:gd name="T6" fmla="*/ 2 w 23"/>
                <a:gd name="T7" fmla="*/ 0 h 29"/>
                <a:gd name="T8" fmla="*/ 23 w 23"/>
                <a:gd name="T9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9">
                  <a:moveTo>
                    <a:pt x="23" y="27"/>
                  </a:moveTo>
                  <a:lnTo>
                    <a:pt x="21" y="29"/>
                  </a:lnTo>
                  <a:lnTo>
                    <a:pt x="0" y="3"/>
                  </a:lnTo>
                  <a:lnTo>
                    <a:pt x="2" y="0"/>
                  </a:lnTo>
                  <a:lnTo>
                    <a:pt x="23" y="27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04" name="Freeform 35"/>
            <p:cNvSpPr>
              <a:spLocks/>
            </p:cNvSpPr>
            <p:nvPr/>
          </p:nvSpPr>
          <p:spPr bwMode="auto">
            <a:xfrm>
              <a:off x="5191126" y="3178175"/>
              <a:ext cx="46038" cy="38100"/>
            </a:xfrm>
            <a:custGeom>
              <a:avLst/>
              <a:gdLst>
                <a:gd name="T0" fmla="*/ 29 w 29"/>
                <a:gd name="T1" fmla="*/ 22 h 24"/>
                <a:gd name="T2" fmla="*/ 26 w 29"/>
                <a:gd name="T3" fmla="*/ 24 h 24"/>
                <a:gd name="T4" fmla="*/ 0 w 29"/>
                <a:gd name="T5" fmla="*/ 3 h 24"/>
                <a:gd name="T6" fmla="*/ 3 w 29"/>
                <a:gd name="T7" fmla="*/ 0 h 24"/>
                <a:gd name="T8" fmla="*/ 29 w 29"/>
                <a:gd name="T9" fmla="*/ 2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4">
                  <a:moveTo>
                    <a:pt x="29" y="22"/>
                  </a:moveTo>
                  <a:lnTo>
                    <a:pt x="26" y="24"/>
                  </a:lnTo>
                  <a:lnTo>
                    <a:pt x="0" y="3"/>
                  </a:lnTo>
                  <a:lnTo>
                    <a:pt x="3" y="0"/>
                  </a:lnTo>
                  <a:lnTo>
                    <a:pt x="29" y="22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05" name="Freeform 36"/>
            <p:cNvSpPr>
              <a:spLocks/>
            </p:cNvSpPr>
            <p:nvPr/>
          </p:nvSpPr>
          <p:spPr bwMode="auto">
            <a:xfrm>
              <a:off x="5075238" y="3344863"/>
              <a:ext cx="49213" cy="33338"/>
            </a:xfrm>
            <a:custGeom>
              <a:avLst/>
              <a:gdLst>
                <a:gd name="T0" fmla="*/ 31 w 31"/>
                <a:gd name="T1" fmla="*/ 19 h 21"/>
                <a:gd name="T2" fmla="*/ 31 w 31"/>
                <a:gd name="T3" fmla="*/ 21 h 21"/>
                <a:gd name="T4" fmla="*/ 0 w 31"/>
                <a:gd name="T5" fmla="*/ 4 h 21"/>
                <a:gd name="T6" fmla="*/ 2 w 31"/>
                <a:gd name="T7" fmla="*/ 0 h 21"/>
                <a:gd name="T8" fmla="*/ 31 w 31"/>
                <a:gd name="T9" fmla="*/ 1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1">
                  <a:moveTo>
                    <a:pt x="31" y="19"/>
                  </a:moveTo>
                  <a:lnTo>
                    <a:pt x="31" y="21"/>
                  </a:lnTo>
                  <a:lnTo>
                    <a:pt x="0" y="4"/>
                  </a:lnTo>
                  <a:lnTo>
                    <a:pt x="2" y="0"/>
                  </a:lnTo>
                  <a:lnTo>
                    <a:pt x="31" y="19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06" name="Freeform 37"/>
            <p:cNvSpPr>
              <a:spLocks/>
            </p:cNvSpPr>
            <p:nvPr/>
          </p:nvSpPr>
          <p:spPr bwMode="auto">
            <a:xfrm>
              <a:off x="4987926" y="3532188"/>
              <a:ext cx="52388" cy="22225"/>
            </a:xfrm>
            <a:custGeom>
              <a:avLst/>
              <a:gdLst>
                <a:gd name="T0" fmla="*/ 33 w 33"/>
                <a:gd name="T1" fmla="*/ 12 h 14"/>
                <a:gd name="T2" fmla="*/ 33 w 33"/>
                <a:gd name="T3" fmla="*/ 14 h 14"/>
                <a:gd name="T4" fmla="*/ 0 w 33"/>
                <a:gd name="T5" fmla="*/ 2 h 14"/>
                <a:gd name="T6" fmla="*/ 3 w 33"/>
                <a:gd name="T7" fmla="*/ 0 h 14"/>
                <a:gd name="T8" fmla="*/ 33 w 33"/>
                <a:gd name="T9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4">
                  <a:moveTo>
                    <a:pt x="33" y="12"/>
                  </a:moveTo>
                  <a:lnTo>
                    <a:pt x="33" y="14"/>
                  </a:lnTo>
                  <a:lnTo>
                    <a:pt x="0" y="2"/>
                  </a:lnTo>
                  <a:lnTo>
                    <a:pt x="3" y="0"/>
                  </a:lnTo>
                  <a:lnTo>
                    <a:pt x="33" y="12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07" name="Freeform 38"/>
            <p:cNvSpPr>
              <a:spLocks/>
            </p:cNvSpPr>
            <p:nvPr/>
          </p:nvSpPr>
          <p:spPr bwMode="auto">
            <a:xfrm>
              <a:off x="4935538" y="3727450"/>
              <a:ext cx="57150" cy="15875"/>
            </a:xfrm>
            <a:custGeom>
              <a:avLst/>
              <a:gdLst>
                <a:gd name="T0" fmla="*/ 36 w 36"/>
                <a:gd name="T1" fmla="*/ 7 h 10"/>
                <a:gd name="T2" fmla="*/ 33 w 36"/>
                <a:gd name="T3" fmla="*/ 10 h 10"/>
                <a:gd name="T4" fmla="*/ 0 w 36"/>
                <a:gd name="T5" fmla="*/ 5 h 10"/>
                <a:gd name="T6" fmla="*/ 0 w 36"/>
                <a:gd name="T7" fmla="*/ 0 h 10"/>
                <a:gd name="T8" fmla="*/ 36 w 36"/>
                <a:gd name="T9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0">
                  <a:moveTo>
                    <a:pt x="36" y="7"/>
                  </a:moveTo>
                  <a:lnTo>
                    <a:pt x="33" y="10"/>
                  </a:lnTo>
                  <a:lnTo>
                    <a:pt x="0" y="5"/>
                  </a:lnTo>
                  <a:lnTo>
                    <a:pt x="0" y="0"/>
                  </a:lnTo>
                  <a:lnTo>
                    <a:pt x="36" y="7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08" name="Rectangle 39"/>
            <p:cNvSpPr>
              <a:spLocks noChangeArrowheads="1"/>
            </p:cNvSpPr>
            <p:nvPr/>
          </p:nvSpPr>
          <p:spPr bwMode="auto">
            <a:xfrm>
              <a:off x="4916488" y="3933825"/>
              <a:ext cx="57150" cy="4763"/>
            </a:xfrm>
            <a:prstGeom prst="rect">
              <a:avLst/>
            </a:pr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09" name="Freeform 40"/>
            <p:cNvSpPr>
              <a:spLocks/>
            </p:cNvSpPr>
            <p:nvPr/>
          </p:nvSpPr>
          <p:spPr bwMode="auto">
            <a:xfrm>
              <a:off x="4935538" y="4125913"/>
              <a:ext cx="52388" cy="15875"/>
            </a:xfrm>
            <a:custGeom>
              <a:avLst/>
              <a:gdLst>
                <a:gd name="T0" fmla="*/ 33 w 33"/>
                <a:gd name="T1" fmla="*/ 0 h 10"/>
                <a:gd name="T2" fmla="*/ 33 w 33"/>
                <a:gd name="T3" fmla="*/ 5 h 10"/>
                <a:gd name="T4" fmla="*/ 0 w 33"/>
                <a:gd name="T5" fmla="*/ 10 h 10"/>
                <a:gd name="T6" fmla="*/ 0 w 33"/>
                <a:gd name="T7" fmla="*/ 7 h 10"/>
                <a:gd name="T8" fmla="*/ 33 w 33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0">
                  <a:moveTo>
                    <a:pt x="33" y="0"/>
                  </a:moveTo>
                  <a:lnTo>
                    <a:pt x="33" y="5"/>
                  </a:lnTo>
                  <a:lnTo>
                    <a:pt x="0" y="10"/>
                  </a:lnTo>
                  <a:lnTo>
                    <a:pt x="0" y="7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10" name="Freeform 41"/>
            <p:cNvSpPr>
              <a:spLocks/>
            </p:cNvSpPr>
            <p:nvPr/>
          </p:nvSpPr>
          <p:spPr bwMode="auto">
            <a:xfrm>
              <a:off x="4987926" y="4318000"/>
              <a:ext cx="52388" cy="22225"/>
            </a:xfrm>
            <a:custGeom>
              <a:avLst/>
              <a:gdLst>
                <a:gd name="T0" fmla="*/ 31 w 33"/>
                <a:gd name="T1" fmla="*/ 0 h 14"/>
                <a:gd name="T2" fmla="*/ 33 w 33"/>
                <a:gd name="T3" fmla="*/ 2 h 14"/>
                <a:gd name="T4" fmla="*/ 0 w 33"/>
                <a:gd name="T5" fmla="*/ 14 h 14"/>
                <a:gd name="T6" fmla="*/ 0 w 33"/>
                <a:gd name="T7" fmla="*/ 9 h 14"/>
                <a:gd name="T8" fmla="*/ 31 w 3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4">
                  <a:moveTo>
                    <a:pt x="31" y="0"/>
                  </a:moveTo>
                  <a:lnTo>
                    <a:pt x="33" y="2"/>
                  </a:lnTo>
                  <a:lnTo>
                    <a:pt x="0" y="14"/>
                  </a:lnTo>
                  <a:lnTo>
                    <a:pt x="0" y="9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11" name="Freeform 42"/>
            <p:cNvSpPr>
              <a:spLocks/>
            </p:cNvSpPr>
            <p:nvPr/>
          </p:nvSpPr>
          <p:spPr bwMode="auto">
            <a:xfrm>
              <a:off x="5075238" y="4494213"/>
              <a:ext cx="49213" cy="30163"/>
            </a:xfrm>
            <a:custGeom>
              <a:avLst/>
              <a:gdLst>
                <a:gd name="T0" fmla="*/ 28 w 31"/>
                <a:gd name="T1" fmla="*/ 0 h 19"/>
                <a:gd name="T2" fmla="*/ 31 w 31"/>
                <a:gd name="T3" fmla="*/ 3 h 19"/>
                <a:gd name="T4" fmla="*/ 0 w 31"/>
                <a:gd name="T5" fmla="*/ 19 h 19"/>
                <a:gd name="T6" fmla="*/ 0 w 31"/>
                <a:gd name="T7" fmla="*/ 17 h 19"/>
                <a:gd name="T8" fmla="*/ 28 w 31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28" y="0"/>
                  </a:moveTo>
                  <a:lnTo>
                    <a:pt x="31" y="3"/>
                  </a:lnTo>
                  <a:lnTo>
                    <a:pt x="0" y="19"/>
                  </a:lnTo>
                  <a:lnTo>
                    <a:pt x="0" y="17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12" name="Freeform 43"/>
            <p:cNvSpPr>
              <a:spLocks/>
            </p:cNvSpPr>
            <p:nvPr/>
          </p:nvSpPr>
          <p:spPr bwMode="auto">
            <a:xfrm>
              <a:off x="5191126" y="4652963"/>
              <a:ext cx="46038" cy="41275"/>
            </a:xfrm>
            <a:custGeom>
              <a:avLst/>
              <a:gdLst>
                <a:gd name="T0" fmla="*/ 26 w 29"/>
                <a:gd name="T1" fmla="*/ 0 h 26"/>
                <a:gd name="T2" fmla="*/ 29 w 29"/>
                <a:gd name="T3" fmla="*/ 4 h 26"/>
                <a:gd name="T4" fmla="*/ 3 w 29"/>
                <a:gd name="T5" fmla="*/ 26 h 26"/>
                <a:gd name="T6" fmla="*/ 0 w 29"/>
                <a:gd name="T7" fmla="*/ 23 h 26"/>
                <a:gd name="T8" fmla="*/ 26 w 29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6">
                  <a:moveTo>
                    <a:pt x="26" y="0"/>
                  </a:moveTo>
                  <a:lnTo>
                    <a:pt x="29" y="4"/>
                  </a:lnTo>
                  <a:lnTo>
                    <a:pt x="3" y="26"/>
                  </a:lnTo>
                  <a:lnTo>
                    <a:pt x="0" y="23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13" name="Freeform 44"/>
            <p:cNvSpPr>
              <a:spLocks/>
            </p:cNvSpPr>
            <p:nvPr/>
          </p:nvSpPr>
          <p:spPr bwMode="auto">
            <a:xfrm>
              <a:off x="5334001" y="4791075"/>
              <a:ext cx="38100" cy="46038"/>
            </a:xfrm>
            <a:custGeom>
              <a:avLst/>
              <a:gdLst>
                <a:gd name="T0" fmla="*/ 22 w 24"/>
                <a:gd name="T1" fmla="*/ 0 h 29"/>
                <a:gd name="T2" fmla="*/ 24 w 24"/>
                <a:gd name="T3" fmla="*/ 3 h 29"/>
                <a:gd name="T4" fmla="*/ 3 w 24"/>
                <a:gd name="T5" fmla="*/ 29 h 29"/>
                <a:gd name="T6" fmla="*/ 0 w 24"/>
                <a:gd name="T7" fmla="*/ 26 h 29"/>
                <a:gd name="T8" fmla="*/ 22 w 24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9">
                  <a:moveTo>
                    <a:pt x="22" y="0"/>
                  </a:moveTo>
                  <a:lnTo>
                    <a:pt x="24" y="3"/>
                  </a:lnTo>
                  <a:lnTo>
                    <a:pt x="3" y="29"/>
                  </a:lnTo>
                  <a:lnTo>
                    <a:pt x="0" y="26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14" name="Freeform 45"/>
            <p:cNvSpPr>
              <a:spLocks/>
            </p:cNvSpPr>
            <p:nvPr/>
          </p:nvSpPr>
          <p:spPr bwMode="auto">
            <a:xfrm>
              <a:off x="5500688" y="4903788"/>
              <a:ext cx="33338" cy="53975"/>
            </a:xfrm>
            <a:custGeom>
              <a:avLst/>
              <a:gdLst>
                <a:gd name="T0" fmla="*/ 18 w 21"/>
                <a:gd name="T1" fmla="*/ 0 h 34"/>
                <a:gd name="T2" fmla="*/ 21 w 21"/>
                <a:gd name="T3" fmla="*/ 3 h 34"/>
                <a:gd name="T4" fmla="*/ 4 w 21"/>
                <a:gd name="T5" fmla="*/ 34 h 34"/>
                <a:gd name="T6" fmla="*/ 0 w 21"/>
                <a:gd name="T7" fmla="*/ 31 h 34"/>
                <a:gd name="T8" fmla="*/ 18 w 21"/>
                <a:gd name="T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34">
                  <a:moveTo>
                    <a:pt x="18" y="0"/>
                  </a:moveTo>
                  <a:lnTo>
                    <a:pt x="21" y="3"/>
                  </a:lnTo>
                  <a:lnTo>
                    <a:pt x="4" y="34"/>
                  </a:lnTo>
                  <a:lnTo>
                    <a:pt x="0" y="31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15" name="Freeform 46"/>
            <p:cNvSpPr>
              <a:spLocks/>
            </p:cNvSpPr>
            <p:nvPr/>
          </p:nvSpPr>
          <p:spPr bwMode="auto">
            <a:xfrm>
              <a:off x="5688013" y="4991100"/>
              <a:ext cx="22225" cy="52388"/>
            </a:xfrm>
            <a:custGeom>
              <a:avLst/>
              <a:gdLst>
                <a:gd name="T0" fmla="*/ 12 w 14"/>
                <a:gd name="T1" fmla="*/ 0 h 33"/>
                <a:gd name="T2" fmla="*/ 14 w 14"/>
                <a:gd name="T3" fmla="*/ 0 h 33"/>
                <a:gd name="T4" fmla="*/ 2 w 14"/>
                <a:gd name="T5" fmla="*/ 33 h 33"/>
                <a:gd name="T6" fmla="*/ 0 w 14"/>
                <a:gd name="T7" fmla="*/ 31 h 33"/>
                <a:gd name="T8" fmla="*/ 12 w 14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33">
                  <a:moveTo>
                    <a:pt x="12" y="0"/>
                  </a:moveTo>
                  <a:lnTo>
                    <a:pt x="14" y="0"/>
                  </a:lnTo>
                  <a:lnTo>
                    <a:pt x="2" y="33"/>
                  </a:lnTo>
                  <a:lnTo>
                    <a:pt x="0" y="31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16" name="Freeform 47"/>
            <p:cNvSpPr>
              <a:spLocks/>
            </p:cNvSpPr>
            <p:nvPr/>
          </p:nvSpPr>
          <p:spPr bwMode="auto">
            <a:xfrm>
              <a:off x="5883276" y="5040313"/>
              <a:ext cx="15875" cy="55563"/>
            </a:xfrm>
            <a:custGeom>
              <a:avLst/>
              <a:gdLst>
                <a:gd name="T0" fmla="*/ 7 w 10"/>
                <a:gd name="T1" fmla="*/ 0 h 35"/>
                <a:gd name="T2" fmla="*/ 10 w 10"/>
                <a:gd name="T3" fmla="*/ 2 h 35"/>
                <a:gd name="T4" fmla="*/ 5 w 10"/>
                <a:gd name="T5" fmla="*/ 35 h 35"/>
                <a:gd name="T6" fmla="*/ 0 w 10"/>
                <a:gd name="T7" fmla="*/ 33 h 35"/>
                <a:gd name="T8" fmla="*/ 7 w 10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35">
                  <a:moveTo>
                    <a:pt x="7" y="0"/>
                  </a:moveTo>
                  <a:lnTo>
                    <a:pt x="10" y="2"/>
                  </a:lnTo>
                  <a:lnTo>
                    <a:pt x="5" y="35"/>
                  </a:lnTo>
                  <a:lnTo>
                    <a:pt x="0" y="33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17" name="Rectangle 48"/>
            <p:cNvSpPr>
              <a:spLocks noChangeArrowheads="1"/>
            </p:cNvSpPr>
            <p:nvPr/>
          </p:nvSpPr>
          <p:spPr bwMode="auto">
            <a:xfrm>
              <a:off x="6086476" y="5059363"/>
              <a:ext cx="7938" cy="52388"/>
            </a:xfrm>
            <a:prstGeom prst="rect">
              <a:avLst/>
            </a:pr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18" name="Freeform 49"/>
            <p:cNvSpPr>
              <a:spLocks/>
            </p:cNvSpPr>
            <p:nvPr/>
          </p:nvSpPr>
          <p:spPr bwMode="auto">
            <a:xfrm>
              <a:off x="6281738" y="5040313"/>
              <a:ext cx="15875" cy="55563"/>
            </a:xfrm>
            <a:custGeom>
              <a:avLst/>
              <a:gdLst>
                <a:gd name="T0" fmla="*/ 0 w 10"/>
                <a:gd name="T1" fmla="*/ 2 h 35"/>
                <a:gd name="T2" fmla="*/ 5 w 10"/>
                <a:gd name="T3" fmla="*/ 0 h 35"/>
                <a:gd name="T4" fmla="*/ 10 w 10"/>
                <a:gd name="T5" fmla="*/ 35 h 35"/>
                <a:gd name="T6" fmla="*/ 8 w 10"/>
                <a:gd name="T7" fmla="*/ 35 h 35"/>
                <a:gd name="T8" fmla="*/ 0 w 10"/>
                <a:gd name="T9" fmla="*/ 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35">
                  <a:moveTo>
                    <a:pt x="0" y="2"/>
                  </a:moveTo>
                  <a:lnTo>
                    <a:pt x="5" y="0"/>
                  </a:lnTo>
                  <a:lnTo>
                    <a:pt x="10" y="35"/>
                  </a:lnTo>
                  <a:lnTo>
                    <a:pt x="8" y="35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19" name="Freeform 50"/>
            <p:cNvSpPr>
              <a:spLocks/>
            </p:cNvSpPr>
            <p:nvPr/>
          </p:nvSpPr>
          <p:spPr bwMode="auto">
            <a:xfrm>
              <a:off x="6470651" y="4991100"/>
              <a:ext cx="25400" cy="52388"/>
            </a:xfrm>
            <a:custGeom>
              <a:avLst/>
              <a:gdLst>
                <a:gd name="T0" fmla="*/ 0 w 16"/>
                <a:gd name="T1" fmla="*/ 2 h 33"/>
                <a:gd name="T2" fmla="*/ 5 w 16"/>
                <a:gd name="T3" fmla="*/ 0 h 33"/>
                <a:gd name="T4" fmla="*/ 16 w 16"/>
                <a:gd name="T5" fmla="*/ 31 h 33"/>
                <a:gd name="T6" fmla="*/ 12 w 16"/>
                <a:gd name="T7" fmla="*/ 33 h 33"/>
                <a:gd name="T8" fmla="*/ 0 w 16"/>
                <a:gd name="T9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33">
                  <a:moveTo>
                    <a:pt x="0" y="2"/>
                  </a:moveTo>
                  <a:lnTo>
                    <a:pt x="5" y="0"/>
                  </a:lnTo>
                  <a:lnTo>
                    <a:pt x="16" y="31"/>
                  </a:lnTo>
                  <a:lnTo>
                    <a:pt x="12" y="33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20" name="Freeform 51"/>
            <p:cNvSpPr>
              <a:spLocks/>
            </p:cNvSpPr>
            <p:nvPr/>
          </p:nvSpPr>
          <p:spPr bwMode="auto">
            <a:xfrm>
              <a:off x="6651626" y="4908550"/>
              <a:ext cx="30163" cy="49213"/>
            </a:xfrm>
            <a:custGeom>
              <a:avLst/>
              <a:gdLst>
                <a:gd name="T0" fmla="*/ 0 w 19"/>
                <a:gd name="T1" fmla="*/ 2 h 31"/>
                <a:gd name="T2" fmla="*/ 2 w 19"/>
                <a:gd name="T3" fmla="*/ 0 h 31"/>
                <a:gd name="T4" fmla="*/ 19 w 19"/>
                <a:gd name="T5" fmla="*/ 28 h 31"/>
                <a:gd name="T6" fmla="*/ 16 w 19"/>
                <a:gd name="T7" fmla="*/ 31 h 31"/>
                <a:gd name="T8" fmla="*/ 0 w 19"/>
                <a:gd name="T9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31">
                  <a:moveTo>
                    <a:pt x="0" y="2"/>
                  </a:moveTo>
                  <a:lnTo>
                    <a:pt x="2" y="0"/>
                  </a:lnTo>
                  <a:lnTo>
                    <a:pt x="19" y="28"/>
                  </a:lnTo>
                  <a:lnTo>
                    <a:pt x="16" y="3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21" name="Freeform 52"/>
            <p:cNvSpPr>
              <a:spLocks/>
            </p:cNvSpPr>
            <p:nvPr/>
          </p:nvSpPr>
          <p:spPr bwMode="auto">
            <a:xfrm>
              <a:off x="6808788" y="4795838"/>
              <a:ext cx="41275" cy="44450"/>
            </a:xfrm>
            <a:custGeom>
              <a:avLst/>
              <a:gdLst>
                <a:gd name="T0" fmla="*/ 0 w 26"/>
                <a:gd name="T1" fmla="*/ 2 h 28"/>
                <a:gd name="T2" fmla="*/ 5 w 26"/>
                <a:gd name="T3" fmla="*/ 0 h 28"/>
                <a:gd name="T4" fmla="*/ 26 w 26"/>
                <a:gd name="T5" fmla="*/ 26 h 28"/>
                <a:gd name="T6" fmla="*/ 24 w 26"/>
                <a:gd name="T7" fmla="*/ 28 h 28"/>
                <a:gd name="T8" fmla="*/ 0 w 26"/>
                <a:gd name="T9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8">
                  <a:moveTo>
                    <a:pt x="0" y="2"/>
                  </a:moveTo>
                  <a:lnTo>
                    <a:pt x="5" y="0"/>
                  </a:lnTo>
                  <a:lnTo>
                    <a:pt x="26" y="26"/>
                  </a:lnTo>
                  <a:lnTo>
                    <a:pt x="24" y="28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22" name="Freeform 53"/>
            <p:cNvSpPr>
              <a:spLocks/>
            </p:cNvSpPr>
            <p:nvPr/>
          </p:nvSpPr>
          <p:spPr bwMode="auto">
            <a:xfrm>
              <a:off x="6948488" y="4656138"/>
              <a:ext cx="44450" cy="41275"/>
            </a:xfrm>
            <a:custGeom>
              <a:avLst/>
              <a:gdLst>
                <a:gd name="T0" fmla="*/ 0 w 28"/>
                <a:gd name="T1" fmla="*/ 5 h 26"/>
                <a:gd name="T2" fmla="*/ 2 w 28"/>
                <a:gd name="T3" fmla="*/ 0 h 26"/>
                <a:gd name="T4" fmla="*/ 28 w 28"/>
                <a:gd name="T5" fmla="*/ 24 h 26"/>
                <a:gd name="T6" fmla="*/ 26 w 28"/>
                <a:gd name="T7" fmla="*/ 26 h 26"/>
                <a:gd name="T8" fmla="*/ 0 w 28"/>
                <a:gd name="T9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6">
                  <a:moveTo>
                    <a:pt x="0" y="5"/>
                  </a:moveTo>
                  <a:lnTo>
                    <a:pt x="2" y="0"/>
                  </a:lnTo>
                  <a:lnTo>
                    <a:pt x="28" y="24"/>
                  </a:lnTo>
                  <a:lnTo>
                    <a:pt x="26" y="26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23" name="Freeform 54"/>
            <p:cNvSpPr>
              <a:spLocks/>
            </p:cNvSpPr>
            <p:nvPr/>
          </p:nvSpPr>
          <p:spPr bwMode="auto">
            <a:xfrm>
              <a:off x="7061201" y="4498975"/>
              <a:ext cx="52388" cy="30163"/>
            </a:xfrm>
            <a:custGeom>
              <a:avLst/>
              <a:gdLst>
                <a:gd name="T0" fmla="*/ 0 w 33"/>
                <a:gd name="T1" fmla="*/ 2 h 19"/>
                <a:gd name="T2" fmla="*/ 2 w 33"/>
                <a:gd name="T3" fmla="*/ 0 h 19"/>
                <a:gd name="T4" fmla="*/ 33 w 33"/>
                <a:gd name="T5" fmla="*/ 16 h 19"/>
                <a:gd name="T6" fmla="*/ 31 w 33"/>
                <a:gd name="T7" fmla="*/ 19 h 19"/>
                <a:gd name="T8" fmla="*/ 0 w 33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0" y="2"/>
                  </a:moveTo>
                  <a:lnTo>
                    <a:pt x="2" y="0"/>
                  </a:lnTo>
                  <a:lnTo>
                    <a:pt x="33" y="16"/>
                  </a:lnTo>
                  <a:lnTo>
                    <a:pt x="31" y="1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24" name="Freeform 55"/>
            <p:cNvSpPr>
              <a:spLocks/>
            </p:cNvSpPr>
            <p:nvPr/>
          </p:nvSpPr>
          <p:spPr bwMode="auto">
            <a:xfrm>
              <a:off x="7143751" y="4321175"/>
              <a:ext cx="57150" cy="23813"/>
            </a:xfrm>
            <a:custGeom>
              <a:avLst/>
              <a:gdLst>
                <a:gd name="T0" fmla="*/ 0 w 36"/>
                <a:gd name="T1" fmla="*/ 3 h 15"/>
                <a:gd name="T2" fmla="*/ 2 w 36"/>
                <a:gd name="T3" fmla="*/ 0 h 15"/>
                <a:gd name="T4" fmla="*/ 36 w 36"/>
                <a:gd name="T5" fmla="*/ 12 h 15"/>
                <a:gd name="T6" fmla="*/ 33 w 36"/>
                <a:gd name="T7" fmla="*/ 15 h 15"/>
                <a:gd name="T8" fmla="*/ 0 w 36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5">
                  <a:moveTo>
                    <a:pt x="0" y="3"/>
                  </a:moveTo>
                  <a:lnTo>
                    <a:pt x="2" y="0"/>
                  </a:lnTo>
                  <a:lnTo>
                    <a:pt x="36" y="12"/>
                  </a:lnTo>
                  <a:lnTo>
                    <a:pt x="33" y="15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25" name="Freeform 56"/>
            <p:cNvSpPr>
              <a:spLocks/>
            </p:cNvSpPr>
            <p:nvPr/>
          </p:nvSpPr>
          <p:spPr bwMode="auto">
            <a:xfrm>
              <a:off x="7196138" y="4130675"/>
              <a:ext cx="57150" cy="17463"/>
            </a:xfrm>
            <a:custGeom>
              <a:avLst/>
              <a:gdLst>
                <a:gd name="T0" fmla="*/ 0 w 36"/>
                <a:gd name="T1" fmla="*/ 4 h 11"/>
                <a:gd name="T2" fmla="*/ 0 w 36"/>
                <a:gd name="T3" fmla="*/ 0 h 11"/>
                <a:gd name="T4" fmla="*/ 36 w 36"/>
                <a:gd name="T5" fmla="*/ 7 h 11"/>
                <a:gd name="T6" fmla="*/ 33 w 36"/>
                <a:gd name="T7" fmla="*/ 11 h 11"/>
                <a:gd name="T8" fmla="*/ 0 w 36"/>
                <a:gd name="T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1">
                  <a:moveTo>
                    <a:pt x="0" y="4"/>
                  </a:moveTo>
                  <a:lnTo>
                    <a:pt x="0" y="0"/>
                  </a:lnTo>
                  <a:lnTo>
                    <a:pt x="36" y="7"/>
                  </a:lnTo>
                  <a:lnTo>
                    <a:pt x="33" y="11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26" name="Rectangle 57"/>
            <p:cNvSpPr>
              <a:spLocks noChangeArrowheads="1"/>
            </p:cNvSpPr>
            <p:nvPr/>
          </p:nvSpPr>
          <p:spPr bwMode="auto">
            <a:xfrm>
              <a:off x="7215188" y="3938588"/>
              <a:ext cx="52388" cy="3175"/>
            </a:xfrm>
            <a:prstGeom prst="rect">
              <a:avLst/>
            </a:pr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27" name="Freeform 58"/>
            <p:cNvSpPr>
              <a:spLocks/>
            </p:cNvSpPr>
            <p:nvPr/>
          </p:nvSpPr>
          <p:spPr bwMode="auto">
            <a:xfrm>
              <a:off x="7196138" y="3732213"/>
              <a:ext cx="57150" cy="17463"/>
            </a:xfrm>
            <a:custGeom>
              <a:avLst/>
              <a:gdLst>
                <a:gd name="T0" fmla="*/ 3 w 36"/>
                <a:gd name="T1" fmla="*/ 11 h 11"/>
                <a:gd name="T2" fmla="*/ 0 w 36"/>
                <a:gd name="T3" fmla="*/ 7 h 11"/>
                <a:gd name="T4" fmla="*/ 36 w 36"/>
                <a:gd name="T5" fmla="*/ 0 h 11"/>
                <a:gd name="T6" fmla="*/ 36 w 36"/>
                <a:gd name="T7" fmla="*/ 4 h 11"/>
                <a:gd name="T8" fmla="*/ 3 w 36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1">
                  <a:moveTo>
                    <a:pt x="3" y="11"/>
                  </a:moveTo>
                  <a:lnTo>
                    <a:pt x="0" y="7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" y="11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28" name="Freeform 59"/>
            <p:cNvSpPr>
              <a:spLocks/>
            </p:cNvSpPr>
            <p:nvPr/>
          </p:nvSpPr>
          <p:spPr bwMode="auto">
            <a:xfrm>
              <a:off x="7146926" y="3535363"/>
              <a:ext cx="53975" cy="23813"/>
            </a:xfrm>
            <a:custGeom>
              <a:avLst/>
              <a:gdLst>
                <a:gd name="T0" fmla="*/ 0 w 34"/>
                <a:gd name="T1" fmla="*/ 15 h 15"/>
                <a:gd name="T2" fmla="*/ 0 w 34"/>
                <a:gd name="T3" fmla="*/ 12 h 15"/>
                <a:gd name="T4" fmla="*/ 31 w 34"/>
                <a:gd name="T5" fmla="*/ 0 h 15"/>
                <a:gd name="T6" fmla="*/ 34 w 34"/>
                <a:gd name="T7" fmla="*/ 3 h 15"/>
                <a:gd name="T8" fmla="*/ 0 w 34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5">
                  <a:moveTo>
                    <a:pt x="0" y="15"/>
                  </a:moveTo>
                  <a:lnTo>
                    <a:pt x="0" y="12"/>
                  </a:lnTo>
                  <a:lnTo>
                    <a:pt x="31" y="0"/>
                  </a:lnTo>
                  <a:lnTo>
                    <a:pt x="34" y="3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29" name="Freeform 60"/>
            <p:cNvSpPr>
              <a:spLocks/>
            </p:cNvSpPr>
            <p:nvPr/>
          </p:nvSpPr>
          <p:spPr bwMode="auto">
            <a:xfrm>
              <a:off x="7064376" y="3351213"/>
              <a:ext cx="49213" cy="30163"/>
            </a:xfrm>
            <a:custGeom>
              <a:avLst/>
              <a:gdLst>
                <a:gd name="T0" fmla="*/ 3 w 31"/>
                <a:gd name="T1" fmla="*/ 19 h 19"/>
                <a:gd name="T2" fmla="*/ 0 w 31"/>
                <a:gd name="T3" fmla="*/ 17 h 19"/>
                <a:gd name="T4" fmla="*/ 29 w 31"/>
                <a:gd name="T5" fmla="*/ 0 h 19"/>
                <a:gd name="T6" fmla="*/ 31 w 31"/>
                <a:gd name="T7" fmla="*/ 3 h 19"/>
                <a:gd name="T8" fmla="*/ 3 w 31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" y="19"/>
                  </a:moveTo>
                  <a:lnTo>
                    <a:pt x="0" y="17"/>
                  </a:lnTo>
                  <a:lnTo>
                    <a:pt x="29" y="0"/>
                  </a:lnTo>
                  <a:lnTo>
                    <a:pt x="31" y="3"/>
                  </a:lnTo>
                  <a:lnTo>
                    <a:pt x="3" y="19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30" name="Freeform 61"/>
            <p:cNvSpPr>
              <a:spLocks/>
            </p:cNvSpPr>
            <p:nvPr/>
          </p:nvSpPr>
          <p:spPr bwMode="auto">
            <a:xfrm>
              <a:off x="6951663" y="3182938"/>
              <a:ext cx="46038" cy="36513"/>
            </a:xfrm>
            <a:custGeom>
              <a:avLst/>
              <a:gdLst>
                <a:gd name="T0" fmla="*/ 3 w 29"/>
                <a:gd name="T1" fmla="*/ 23 h 23"/>
                <a:gd name="T2" fmla="*/ 0 w 29"/>
                <a:gd name="T3" fmla="*/ 21 h 23"/>
                <a:gd name="T4" fmla="*/ 26 w 29"/>
                <a:gd name="T5" fmla="*/ 0 h 23"/>
                <a:gd name="T6" fmla="*/ 29 w 29"/>
                <a:gd name="T7" fmla="*/ 2 h 23"/>
                <a:gd name="T8" fmla="*/ 3 w 29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3">
                  <a:moveTo>
                    <a:pt x="3" y="23"/>
                  </a:moveTo>
                  <a:lnTo>
                    <a:pt x="0" y="21"/>
                  </a:lnTo>
                  <a:lnTo>
                    <a:pt x="26" y="0"/>
                  </a:lnTo>
                  <a:lnTo>
                    <a:pt x="29" y="2"/>
                  </a:lnTo>
                  <a:lnTo>
                    <a:pt x="3" y="23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31" name="Freeform 62"/>
            <p:cNvSpPr>
              <a:spLocks/>
            </p:cNvSpPr>
            <p:nvPr/>
          </p:nvSpPr>
          <p:spPr bwMode="auto">
            <a:xfrm>
              <a:off x="6811963" y="3035300"/>
              <a:ext cx="42863" cy="46038"/>
            </a:xfrm>
            <a:custGeom>
              <a:avLst/>
              <a:gdLst>
                <a:gd name="T0" fmla="*/ 5 w 27"/>
                <a:gd name="T1" fmla="*/ 29 h 29"/>
                <a:gd name="T2" fmla="*/ 0 w 27"/>
                <a:gd name="T3" fmla="*/ 27 h 29"/>
                <a:gd name="T4" fmla="*/ 24 w 27"/>
                <a:gd name="T5" fmla="*/ 0 h 29"/>
                <a:gd name="T6" fmla="*/ 27 w 27"/>
                <a:gd name="T7" fmla="*/ 3 h 29"/>
                <a:gd name="T8" fmla="*/ 5 w 27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9">
                  <a:moveTo>
                    <a:pt x="5" y="29"/>
                  </a:moveTo>
                  <a:lnTo>
                    <a:pt x="0" y="27"/>
                  </a:lnTo>
                  <a:lnTo>
                    <a:pt x="24" y="0"/>
                  </a:lnTo>
                  <a:lnTo>
                    <a:pt x="27" y="3"/>
                  </a:lnTo>
                  <a:lnTo>
                    <a:pt x="5" y="29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32" name="Freeform 63"/>
            <p:cNvSpPr>
              <a:spLocks/>
            </p:cNvSpPr>
            <p:nvPr/>
          </p:nvSpPr>
          <p:spPr bwMode="auto">
            <a:xfrm>
              <a:off x="6654801" y="2919413"/>
              <a:ext cx="30163" cy="49213"/>
            </a:xfrm>
            <a:custGeom>
              <a:avLst/>
              <a:gdLst>
                <a:gd name="T0" fmla="*/ 2 w 19"/>
                <a:gd name="T1" fmla="*/ 31 h 31"/>
                <a:gd name="T2" fmla="*/ 0 w 19"/>
                <a:gd name="T3" fmla="*/ 31 h 31"/>
                <a:gd name="T4" fmla="*/ 17 w 19"/>
                <a:gd name="T5" fmla="*/ 0 h 31"/>
                <a:gd name="T6" fmla="*/ 19 w 19"/>
                <a:gd name="T7" fmla="*/ 2 h 31"/>
                <a:gd name="T8" fmla="*/ 2 w 19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31">
                  <a:moveTo>
                    <a:pt x="2" y="31"/>
                  </a:moveTo>
                  <a:lnTo>
                    <a:pt x="0" y="31"/>
                  </a:lnTo>
                  <a:lnTo>
                    <a:pt x="17" y="0"/>
                  </a:lnTo>
                  <a:lnTo>
                    <a:pt x="19" y="2"/>
                  </a:lnTo>
                  <a:lnTo>
                    <a:pt x="2" y="31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33" name="Freeform 64"/>
            <p:cNvSpPr>
              <a:spLocks/>
            </p:cNvSpPr>
            <p:nvPr/>
          </p:nvSpPr>
          <p:spPr bwMode="auto">
            <a:xfrm>
              <a:off x="6478588" y="2833688"/>
              <a:ext cx="22225" cy="52388"/>
            </a:xfrm>
            <a:custGeom>
              <a:avLst/>
              <a:gdLst>
                <a:gd name="T0" fmla="*/ 2 w 14"/>
                <a:gd name="T1" fmla="*/ 33 h 33"/>
                <a:gd name="T2" fmla="*/ 0 w 14"/>
                <a:gd name="T3" fmla="*/ 33 h 33"/>
                <a:gd name="T4" fmla="*/ 9 w 14"/>
                <a:gd name="T5" fmla="*/ 0 h 33"/>
                <a:gd name="T6" fmla="*/ 14 w 14"/>
                <a:gd name="T7" fmla="*/ 2 h 33"/>
                <a:gd name="T8" fmla="*/ 2 w 14"/>
                <a:gd name="T9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33">
                  <a:moveTo>
                    <a:pt x="2" y="33"/>
                  </a:moveTo>
                  <a:lnTo>
                    <a:pt x="0" y="33"/>
                  </a:lnTo>
                  <a:lnTo>
                    <a:pt x="9" y="0"/>
                  </a:lnTo>
                  <a:lnTo>
                    <a:pt x="14" y="2"/>
                  </a:lnTo>
                  <a:lnTo>
                    <a:pt x="2" y="33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34" name="Freeform 65"/>
            <p:cNvSpPr>
              <a:spLocks/>
            </p:cNvSpPr>
            <p:nvPr/>
          </p:nvSpPr>
          <p:spPr bwMode="auto">
            <a:xfrm>
              <a:off x="6286501" y="2779713"/>
              <a:ext cx="14288" cy="57150"/>
            </a:xfrm>
            <a:custGeom>
              <a:avLst/>
              <a:gdLst>
                <a:gd name="T0" fmla="*/ 5 w 9"/>
                <a:gd name="T1" fmla="*/ 36 h 36"/>
                <a:gd name="T2" fmla="*/ 0 w 9"/>
                <a:gd name="T3" fmla="*/ 34 h 36"/>
                <a:gd name="T4" fmla="*/ 7 w 9"/>
                <a:gd name="T5" fmla="*/ 0 h 36"/>
                <a:gd name="T6" fmla="*/ 9 w 9"/>
                <a:gd name="T7" fmla="*/ 0 h 36"/>
                <a:gd name="T8" fmla="*/ 5 w 9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6">
                  <a:moveTo>
                    <a:pt x="5" y="36"/>
                  </a:moveTo>
                  <a:lnTo>
                    <a:pt x="0" y="34"/>
                  </a:lnTo>
                  <a:lnTo>
                    <a:pt x="7" y="0"/>
                  </a:lnTo>
                  <a:lnTo>
                    <a:pt x="9" y="0"/>
                  </a:lnTo>
                  <a:lnTo>
                    <a:pt x="5" y="36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35" name="Freeform 66"/>
            <p:cNvSpPr>
              <a:spLocks/>
            </p:cNvSpPr>
            <p:nvPr/>
          </p:nvSpPr>
          <p:spPr bwMode="auto">
            <a:xfrm>
              <a:off x="5495926" y="2905125"/>
              <a:ext cx="52388" cy="77788"/>
            </a:xfrm>
            <a:custGeom>
              <a:avLst/>
              <a:gdLst>
                <a:gd name="T0" fmla="*/ 33 w 33"/>
                <a:gd name="T1" fmla="*/ 47 h 49"/>
                <a:gd name="T2" fmla="*/ 29 w 33"/>
                <a:gd name="T3" fmla="*/ 49 h 49"/>
                <a:gd name="T4" fmla="*/ 0 w 33"/>
                <a:gd name="T5" fmla="*/ 2 h 49"/>
                <a:gd name="T6" fmla="*/ 5 w 33"/>
                <a:gd name="T7" fmla="*/ 0 h 49"/>
                <a:gd name="T8" fmla="*/ 33 w 33"/>
                <a:gd name="T9" fmla="*/ 4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49">
                  <a:moveTo>
                    <a:pt x="33" y="47"/>
                  </a:moveTo>
                  <a:lnTo>
                    <a:pt x="29" y="49"/>
                  </a:lnTo>
                  <a:lnTo>
                    <a:pt x="0" y="2"/>
                  </a:lnTo>
                  <a:lnTo>
                    <a:pt x="5" y="0"/>
                  </a:lnTo>
                  <a:lnTo>
                    <a:pt x="33" y="47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36" name="Freeform 67"/>
            <p:cNvSpPr>
              <a:spLocks/>
            </p:cNvSpPr>
            <p:nvPr/>
          </p:nvSpPr>
          <p:spPr bwMode="auto">
            <a:xfrm>
              <a:off x="5059363" y="3336925"/>
              <a:ext cx="82550" cy="52388"/>
            </a:xfrm>
            <a:custGeom>
              <a:avLst/>
              <a:gdLst>
                <a:gd name="T0" fmla="*/ 52 w 52"/>
                <a:gd name="T1" fmla="*/ 28 h 33"/>
                <a:gd name="T2" fmla="*/ 50 w 52"/>
                <a:gd name="T3" fmla="*/ 33 h 33"/>
                <a:gd name="T4" fmla="*/ 0 w 52"/>
                <a:gd name="T5" fmla="*/ 7 h 33"/>
                <a:gd name="T6" fmla="*/ 5 w 52"/>
                <a:gd name="T7" fmla="*/ 0 h 33"/>
                <a:gd name="T8" fmla="*/ 52 w 52"/>
                <a:gd name="T9" fmla="*/ 2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3">
                  <a:moveTo>
                    <a:pt x="52" y="28"/>
                  </a:moveTo>
                  <a:lnTo>
                    <a:pt x="50" y="33"/>
                  </a:lnTo>
                  <a:lnTo>
                    <a:pt x="0" y="7"/>
                  </a:lnTo>
                  <a:lnTo>
                    <a:pt x="5" y="0"/>
                  </a:lnTo>
                  <a:lnTo>
                    <a:pt x="52" y="28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37" name="Rectangle 68"/>
            <p:cNvSpPr>
              <a:spLocks noChangeArrowheads="1"/>
            </p:cNvSpPr>
            <p:nvPr/>
          </p:nvSpPr>
          <p:spPr bwMode="auto">
            <a:xfrm>
              <a:off x="4902201" y="3933825"/>
              <a:ext cx="90488" cy="7938"/>
            </a:xfrm>
            <a:prstGeom prst="rect">
              <a:avLst/>
            </a:pr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38" name="Freeform 69"/>
            <p:cNvSpPr>
              <a:spLocks/>
            </p:cNvSpPr>
            <p:nvPr/>
          </p:nvSpPr>
          <p:spPr bwMode="auto">
            <a:xfrm>
              <a:off x="5059363" y="4487863"/>
              <a:ext cx="82550" cy="52388"/>
            </a:xfrm>
            <a:custGeom>
              <a:avLst/>
              <a:gdLst>
                <a:gd name="T0" fmla="*/ 50 w 52"/>
                <a:gd name="T1" fmla="*/ 0 h 33"/>
                <a:gd name="T2" fmla="*/ 52 w 52"/>
                <a:gd name="T3" fmla="*/ 4 h 33"/>
                <a:gd name="T4" fmla="*/ 5 w 52"/>
                <a:gd name="T5" fmla="*/ 33 h 33"/>
                <a:gd name="T6" fmla="*/ 0 w 52"/>
                <a:gd name="T7" fmla="*/ 26 h 33"/>
                <a:gd name="T8" fmla="*/ 50 w 52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3">
                  <a:moveTo>
                    <a:pt x="50" y="0"/>
                  </a:moveTo>
                  <a:lnTo>
                    <a:pt x="52" y="4"/>
                  </a:lnTo>
                  <a:lnTo>
                    <a:pt x="5" y="33"/>
                  </a:lnTo>
                  <a:lnTo>
                    <a:pt x="0" y="26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39" name="Freeform 70"/>
            <p:cNvSpPr>
              <a:spLocks/>
            </p:cNvSpPr>
            <p:nvPr/>
          </p:nvSpPr>
          <p:spPr bwMode="auto">
            <a:xfrm>
              <a:off x="5495926" y="4889500"/>
              <a:ext cx="52388" cy="82550"/>
            </a:xfrm>
            <a:custGeom>
              <a:avLst/>
              <a:gdLst>
                <a:gd name="T0" fmla="*/ 29 w 33"/>
                <a:gd name="T1" fmla="*/ 0 h 52"/>
                <a:gd name="T2" fmla="*/ 33 w 33"/>
                <a:gd name="T3" fmla="*/ 5 h 52"/>
                <a:gd name="T4" fmla="*/ 5 w 33"/>
                <a:gd name="T5" fmla="*/ 52 h 52"/>
                <a:gd name="T6" fmla="*/ 0 w 33"/>
                <a:gd name="T7" fmla="*/ 50 h 52"/>
                <a:gd name="T8" fmla="*/ 29 w 33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52">
                  <a:moveTo>
                    <a:pt x="29" y="0"/>
                  </a:moveTo>
                  <a:lnTo>
                    <a:pt x="33" y="5"/>
                  </a:lnTo>
                  <a:lnTo>
                    <a:pt x="5" y="52"/>
                  </a:lnTo>
                  <a:lnTo>
                    <a:pt x="0" y="5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40" name="Rectangle 71"/>
            <p:cNvSpPr>
              <a:spLocks noChangeArrowheads="1"/>
            </p:cNvSpPr>
            <p:nvPr/>
          </p:nvSpPr>
          <p:spPr bwMode="auto">
            <a:xfrm>
              <a:off x="6091238" y="5040313"/>
              <a:ext cx="11113" cy="90488"/>
            </a:xfrm>
            <a:prstGeom prst="rect">
              <a:avLst/>
            </a:pr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41" name="Freeform 72"/>
            <p:cNvSpPr>
              <a:spLocks/>
            </p:cNvSpPr>
            <p:nvPr/>
          </p:nvSpPr>
          <p:spPr bwMode="auto">
            <a:xfrm>
              <a:off x="6643688" y="4889500"/>
              <a:ext cx="52388" cy="82550"/>
            </a:xfrm>
            <a:custGeom>
              <a:avLst/>
              <a:gdLst>
                <a:gd name="T0" fmla="*/ 0 w 33"/>
                <a:gd name="T1" fmla="*/ 5 h 52"/>
                <a:gd name="T2" fmla="*/ 5 w 33"/>
                <a:gd name="T3" fmla="*/ 0 h 52"/>
                <a:gd name="T4" fmla="*/ 33 w 33"/>
                <a:gd name="T5" fmla="*/ 50 h 52"/>
                <a:gd name="T6" fmla="*/ 28 w 33"/>
                <a:gd name="T7" fmla="*/ 52 h 52"/>
                <a:gd name="T8" fmla="*/ 0 w 33"/>
                <a:gd name="T9" fmla="*/ 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52">
                  <a:moveTo>
                    <a:pt x="0" y="5"/>
                  </a:moveTo>
                  <a:lnTo>
                    <a:pt x="5" y="0"/>
                  </a:lnTo>
                  <a:lnTo>
                    <a:pt x="33" y="50"/>
                  </a:lnTo>
                  <a:lnTo>
                    <a:pt x="28" y="52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42" name="Freeform 73"/>
            <p:cNvSpPr>
              <a:spLocks/>
            </p:cNvSpPr>
            <p:nvPr/>
          </p:nvSpPr>
          <p:spPr bwMode="auto">
            <a:xfrm>
              <a:off x="7050088" y="4487863"/>
              <a:ext cx="82550" cy="52388"/>
            </a:xfrm>
            <a:custGeom>
              <a:avLst/>
              <a:gdLst>
                <a:gd name="T0" fmla="*/ 0 w 52"/>
                <a:gd name="T1" fmla="*/ 4 h 33"/>
                <a:gd name="T2" fmla="*/ 2 w 52"/>
                <a:gd name="T3" fmla="*/ 0 h 33"/>
                <a:gd name="T4" fmla="*/ 52 w 52"/>
                <a:gd name="T5" fmla="*/ 26 h 33"/>
                <a:gd name="T6" fmla="*/ 47 w 52"/>
                <a:gd name="T7" fmla="*/ 33 h 33"/>
                <a:gd name="T8" fmla="*/ 0 w 52"/>
                <a:gd name="T9" fmla="*/ 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3">
                  <a:moveTo>
                    <a:pt x="0" y="4"/>
                  </a:moveTo>
                  <a:lnTo>
                    <a:pt x="2" y="0"/>
                  </a:lnTo>
                  <a:lnTo>
                    <a:pt x="52" y="26"/>
                  </a:lnTo>
                  <a:lnTo>
                    <a:pt x="47" y="3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43" name="Rectangle 74"/>
            <p:cNvSpPr>
              <a:spLocks noChangeArrowheads="1"/>
            </p:cNvSpPr>
            <p:nvPr/>
          </p:nvSpPr>
          <p:spPr bwMode="auto">
            <a:xfrm>
              <a:off x="7200901" y="3933825"/>
              <a:ext cx="85725" cy="7938"/>
            </a:xfrm>
            <a:prstGeom prst="rect">
              <a:avLst/>
            </a:pr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44" name="Freeform 75"/>
            <p:cNvSpPr>
              <a:spLocks/>
            </p:cNvSpPr>
            <p:nvPr/>
          </p:nvSpPr>
          <p:spPr bwMode="auto">
            <a:xfrm>
              <a:off x="7050088" y="3336925"/>
              <a:ext cx="82550" cy="52388"/>
            </a:xfrm>
            <a:custGeom>
              <a:avLst/>
              <a:gdLst>
                <a:gd name="T0" fmla="*/ 2 w 52"/>
                <a:gd name="T1" fmla="*/ 33 h 33"/>
                <a:gd name="T2" fmla="*/ 0 w 52"/>
                <a:gd name="T3" fmla="*/ 28 h 33"/>
                <a:gd name="T4" fmla="*/ 47 w 52"/>
                <a:gd name="T5" fmla="*/ 0 h 33"/>
                <a:gd name="T6" fmla="*/ 52 w 52"/>
                <a:gd name="T7" fmla="*/ 7 h 33"/>
                <a:gd name="T8" fmla="*/ 2 w 52"/>
                <a:gd name="T9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3">
                  <a:moveTo>
                    <a:pt x="2" y="33"/>
                  </a:moveTo>
                  <a:lnTo>
                    <a:pt x="0" y="28"/>
                  </a:lnTo>
                  <a:lnTo>
                    <a:pt x="47" y="0"/>
                  </a:lnTo>
                  <a:lnTo>
                    <a:pt x="52" y="7"/>
                  </a:lnTo>
                  <a:lnTo>
                    <a:pt x="2" y="33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  <p:sp>
          <p:nvSpPr>
            <p:cNvPr id="245" name="Freeform 76"/>
            <p:cNvSpPr>
              <a:spLocks/>
            </p:cNvSpPr>
            <p:nvPr/>
          </p:nvSpPr>
          <p:spPr bwMode="auto">
            <a:xfrm>
              <a:off x="6643688" y="2905125"/>
              <a:ext cx="52388" cy="77788"/>
            </a:xfrm>
            <a:custGeom>
              <a:avLst/>
              <a:gdLst>
                <a:gd name="T0" fmla="*/ 5 w 33"/>
                <a:gd name="T1" fmla="*/ 49 h 49"/>
                <a:gd name="T2" fmla="*/ 0 w 33"/>
                <a:gd name="T3" fmla="*/ 47 h 49"/>
                <a:gd name="T4" fmla="*/ 28 w 33"/>
                <a:gd name="T5" fmla="*/ 0 h 49"/>
                <a:gd name="T6" fmla="*/ 33 w 33"/>
                <a:gd name="T7" fmla="*/ 2 h 49"/>
                <a:gd name="T8" fmla="*/ 5 w 33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49">
                  <a:moveTo>
                    <a:pt x="5" y="49"/>
                  </a:moveTo>
                  <a:lnTo>
                    <a:pt x="0" y="47"/>
                  </a:lnTo>
                  <a:lnTo>
                    <a:pt x="28" y="0"/>
                  </a:lnTo>
                  <a:lnTo>
                    <a:pt x="33" y="2"/>
                  </a:lnTo>
                  <a:lnTo>
                    <a:pt x="5" y="49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</a:endParaRPr>
            </a:p>
          </p:txBody>
        </p:sp>
      </p:grpSp>
      <p:sp>
        <p:nvSpPr>
          <p:cNvPr id="247" name="Freeform 6"/>
          <p:cNvSpPr>
            <a:spLocks/>
          </p:cNvSpPr>
          <p:nvPr/>
        </p:nvSpPr>
        <p:spPr bwMode="auto">
          <a:xfrm>
            <a:off x="4457054" y="2853730"/>
            <a:ext cx="3124862" cy="3168896"/>
          </a:xfrm>
          <a:custGeom>
            <a:avLst/>
            <a:gdLst>
              <a:gd name="T0" fmla="*/ 963 w 963"/>
              <a:gd name="T1" fmla="*/ 482 h 964"/>
              <a:gd name="T2" fmla="*/ 482 w 963"/>
              <a:gd name="T3" fmla="*/ 964 h 964"/>
              <a:gd name="T4" fmla="*/ 481 w 963"/>
              <a:gd name="T5" fmla="*/ 964 h 964"/>
              <a:gd name="T6" fmla="*/ 0 w 963"/>
              <a:gd name="T7" fmla="*/ 482 h 964"/>
              <a:gd name="T8" fmla="*/ 445 w 963"/>
              <a:gd name="T9" fmla="*/ 2 h 964"/>
              <a:gd name="T10" fmla="*/ 481 w 963"/>
              <a:gd name="T11" fmla="*/ 0 h 964"/>
              <a:gd name="T12" fmla="*/ 482 w 963"/>
              <a:gd name="T13" fmla="*/ 0 h 964"/>
              <a:gd name="T14" fmla="*/ 513 w 963"/>
              <a:gd name="T15" fmla="*/ 1 h 964"/>
              <a:gd name="T16" fmla="*/ 963 w 963"/>
              <a:gd name="T17" fmla="*/ 482 h 9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63" h="964">
                <a:moveTo>
                  <a:pt x="963" y="482"/>
                </a:moveTo>
                <a:cubicBezTo>
                  <a:pt x="963" y="747"/>
                  <a:pt x="747" y="963"/>
                  <a:pt x="482" y="964"/>
                </a:cubicBezTo>
                <a:cubicBezTo>
                  <a:pt x="481" y="964"/>
                  <a:pt x="481" y="964"/>
                  <a:pt x="481" y="964"/>
                </a:cubicBezTo>
                <a:cubicBezTo>
                  <a:pt x="216" y="964"/>
                  <a:pt x="0" y="748"/>
                  <a:pt x="0" y="482"/>
                </a:cubicBezTo>
                <a:cubicBezTo>
                  <a:pt x="0" y="228"/>
                  <a:pt x="196" y="20"/>
                  <a:pt x="445" y="2"/>
                </a:cubicBezTo>
                <a:cubicBezTo>
                  <a:pt x="457" y="1"/>
                  <a:pt x="469" y="0"/>
                  <a:pt x="481" y="0"/>
                </a:cubicBezTo>
                <a:cubicBezTo>
                  <a:pt x="482" y="0"/>
                  <a:pt x="482" y="0"/>
                  <a:pt x="482" y="0"/>
                </a:cubicBezTo>
                <a:cubicBezTo>
                  <a:pt x="493" y="0"/>
                  <a:pt x="503" y="1"/>
                  <a:pt x="513" y="1"/>
                </a:cubicBezTo>
                <a:cubicBezTo>
                  <a:pt x="764" y="18"/>
                  <a:pt x="963" y="227"/>
                  <a:pt x="963" y="48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</a:endParaRPr>
          </a:p>
        </p:txBody>
      </p:sp>
      <p:pic>
        <p:nvPicPr>
          <p:cNvPr id="248" name="Picture 3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 bwMode="auto">
          <a:xfrm>
            <a:off x="4534776" y="2953469"/>
            <a:ext cx="2969418" cy="296941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7055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4C536D6-B736-49CE-A15A-036B8228C5C7}" type="datetime1">
              <a:rPr lang="en-GB" smtClean="0"/>
              <a:t>16/07/2019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endParaRPr lang="en-US">
              <a:latin typeface="Allianz Neo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llianz Neo" pitchFamily="34" charset="0"/>
              </a:rPr>
              <a:t>Solution Overview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63724" y="1019622"/>
            <a:ext cx="1656184" cy="453183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  <a:t>OE Specific</a:t>
            </a:r>
          </a:p>
        </p:txBody>
      </p:sp>
      <p:grpSp>
        <p:nvGrpSpPr>
          <p:cNvPr id="148" name="Group 147"/>
          <p:cNvGrpSpPr/>
          <p:nvPr/>
        </p:nvGrpSpPr>
        <p:grpSpPr>
          <a:xfrm>
            <a:off x="1494174" y="1197546"/>
            <a:ext cx="8177734" cy="7180769"/>
            <a:chOff x="1494174" y="1197546"/>
            <a:chExt cx="8177734" cy="7180769"/>
          </a:xfrm>
        </p:grpSpPr>
        <p:grpSp>
          <p:nvGrpSpPr>
            <p:cNvPr id="10" name="Group 9"/>
            <p:cNvGrpSpPr/>
            <p:nvPr/>
          </p:nvGrpSpPr>
          <p:grpSpPr>
            <a:xfrm>
              <a:off x="1494174" y="1197546"/>
              <a:ext cx="8177734" cy="7180769"/>
              <a:chOff x="1120776" y="627534"/>
              <a:chExt cx="6134098" cy="5384330"/>
            </a:xfrm>
          </p:grpSpPr>
          <p:grpSp>
            <p:nvGrpSpPr>
              <p:cNvPr id="57" name="Group 56"/>
              <p:cNvGrpSpPr/>
              <p:nvPr/>
            </p:nvGrpSpPr>
            <p:grpSpPr>
              <a:xfrm>
                <a:off x="2147888" y="627534"/>
                <a:ext cx="5106986" cy="3933826"/>
                <a:chOff x="2147888" y="320676"/>
                <a:chExt cx="5106988" cy="3933825"/>
              </a:xfrm>
            </p:grpSpPr>
            <p:sp>
              <p:nvSpPr>
                <p:cNvPr id="119" name="Freeform 7"/>
                <p:cNvSpPr>
                  <a:spLocks/>
                </p:cNvSpPr>
                <p:nvPr/>
              </p:nvSpPr>
              <p:spPr bwMode="auto">
                <a:xfrm>
                  <a:off x="2147888" y="320676"/>
                  <a:ext cx="5097463" cy="3933825"/>
                </a:xfrm>
                <a:custGeom>
                  <a:avLst/>
                  <a:gdLst>
                    <a:gd name="T0" fmla="*/ 1047 w 1047"/>
                    <a:gd name="T1" fmla="*/ 772 h 808"/>
                    <a:gd name="T2" fmla="*/ 1047 w 1047"/>
                    <a:gd name="T3" fmla="*/ 36 h 808"/>
                    <a:gd name="T4" fmla="*/ 1011 w 1047"/>
                    <a:gd name="T5" fmla="*/ 0 h 808"/>
                    <a:gd name="T6" fmla="*/ 36 w 1047"/>
                    <a:gd name="T7" fmla="*/ 0 h 808"/>
                    <a:gd name="T8" fmla="*/ 0 w 1047"/>
                    <a:gd name="T9" fmla="*/ 36 h 808"/>
                    <a:gd name="T10" fmla="*/ 0 w 1047"/>
                    <a:gd name="T11" fmla="*/ 772 h 808"/>
                    <a:gd name="T12" fmla="*/ 36 w 1047"/>
                    <a:gd name="T13" fmla="*/ 808 h 808"/>
                    <a:gd name="T14" fmla="*/ 1011 w 1047"/>
                    <a:gd name="T15" fmla="*/ 808 h 808"/>
                    <a:gd name="T16" fmla="*/ 1047 w 1047"/>
                    <a:gd name="T17" fmla="*/ 772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7" h="808">
                      <a:moveTo>
                        <a:pt x="1047" y="772"/>
                      </a:moveTo>
                      <a:cubicBezTo>
                        <a:pt x="1047" y="36"/>
                        <a:pt x="1047" y="36"/>
                        <a:pt x="1047" y="36"/>
                      </a:cubicBezTo>
                      <a:cubicBezTo>
                        <a:pt x="1047" y="17"/>
                        <a:pt x="1031" y="0"/>
                        <a:pt x="1011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16" y="0"/>
                        <a:pt x="0" y="17"/>
                        <a:pt x="0" y="36"/>
                      </a:cubicBezTo>
                      <a:cubicBezTo>
                        <a:pt x="0" y="772"/>
                        <a:pt x="0" y="772"/>
                        <a:pt x="0" y="772"/>
                      </a:cubicBezTo>
                      <a:cubicBezTo>
                        <a:pt x="0" y="792"/>
                        <a:pt x="16" y="808"/>
                        <a:pt x="36" y="808"/>
                      </a:cubicBezTo>
                      <a:cubicBezTo>
                        <a:pt x="1011" y="808"/>
                        <a:pt x="1011" y="808"/>
                        <a:pt x="1011" y="808"/>
                      </a:cubicBezTo>
                      <a:cubicBezTo>
                        <a:pt x="1031" y="808"/>
                        <a:pt x="1047" y="792"/>
                        <a:pt x="1047" y="772"/>
                      </a:cubicBezTo>
                    </a:path>
                  </a:pathLst>
                </a:custGeom>
                <a:solidFill>
                  <a:srgbClr val="21242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" name="Freeform 8"/>
                <p:cNvSpPr>
                  <a:spLocks/>
                </p:cNvSpPr>
                <p:nvPr/>
              </p:nvSpPr>
              <p:spPr bwMode="auto">
                <a:xfrm>
                  <a:off x="4656138" y="320676"/>
                  <a:ext cx="2598738" cy="2093913"/>
                </a:xfrm>
                <a:custGeom>
                  <a:avLst/>
                  <a:gdLst>
                    <a:gd name="T0" fmla="*/ 534 w 534"/>
                    <a:gd name="T1" fmla="*/ 430 h 430"/>
                    <a:gd name="T2" fmla="*/ 534 w 534"/>
                    <a:gd name="T3" fmla="*/ 36 h 430"/>
                    <a:gd name="T4" fmla="*/ 498 w 534"/>
                    <a:gd name="T5" fmla="*/ 0 h 430"/>
                    <a:gd name="T6" fmla="*/ 0 w 534"/>
                    <a:gd name="T7" fmla="*/ 0 h 430"/>
                    <a:gd name="T8" fmla="*/ 534 w 534"/>
                    <a:gd name="T9" fmla="*/ 430 h 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4" h="430">
                      <a:moveTo>
                        <a:pt x="534" y="430"/>
                      </a:moveTo>
                      <a:cubicBezTo>
                        <a:pt x="534" y="36"/>
                        <a:pt x="534" y="36"/>
                        <a:pt x="534" y="36"/>
                      </a:cubicBezTo>
                      <a:cubicBezTo>
                        <a:pt x="534" y="17"/>
                        <a:pt x="518" y="0"/>
                        <a:pt x="49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534" y="430"/>
                      </a:lnTo>
                      <a:close/>
                    </a:path>
                  </a:pathLst>
                </a:custGeom>
                <a:solidFill>
                  <a:srgbClr val="5A5A5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" name="Freeform 10"/>
                <p:cNvSpPr>
                  <a:spLocks/>
                </p:cNvSpPr>
                <p:nvPr/>
              </p:nvSpPr>
              <p:spPr bwMode="auto">
                <a:xfrm>
                  <a:off x="2659063" y="739776"/>
                  <a:ext cx="4129088" cy="3095625"/>
                </a:xfrm>
                <a:custGeom>
                  <a:avLst/>
                  <a:gdLst>
                    <a:gd name="T0" fmla="*/ 848 w 848"/>
                    <a:gd name="T1" fmla="*/ 635 h 636"/>
                    <a:gd name="T2" fmla="*/ 847 w 848"/>
                    <a:gd name="T3" fmla="*/ 636 h 636"/>
                    <a:gd name="T4" fmla="*/ 2 w 848"/>
                    <a:gd name="T5" fmla="*/ 636 h 636"/>
                    <a:gd name="T6" fmla="*/ 0 w 848"/>
                    <a:gd name="T7" fmla="*/ 635 h 636"/>
                    <a:gd name="T8" fmla="*/ 0 w 848"/>
                    <a:gd name="T9" fmla="*/ 2 h 636"/>
                    <a:gd name="T10" fmla="*/ 2 w 848"/>
                    <a:gd name="T11" fmla="*/ 0 h 636"/>
                    <a:gd name="T12" fmla="*/ 847 w 848"/>
                    <a:gd name="T13" fmla="*/ 0 h 636"/>
                    <a:gd name="T14" fmla="*/ 848 w 848"/>
                    <a:gd name="T15" fmla="*/ 2 h 636"/>
                    <a:gd name="T16" fmla="*/ 848 w 848"/>
                    <a:gd name="T17" fmla="*/ 635 h 6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8" h="636">
                      <a:moveTo>
                        <a:pt x="848" y="635"/>
                      </a:moveTo>
                      <a:cubicBezTo>
                        <a:pt x="848" y="636"/>
                        <a:pt x="847" y="636"/>
                        <a:pt x="847" y="636"/>
                      </a:cubicBezTo>
                      <a:cubicBezTo>
                        <a:pt x="2" y="636"/>
                        <a:pt x="2" y="636"/>
                        <a:pt x="2" y="636"/>
                      </a:cubicBezTo>
                      <a:cubicBezTo>
                        <a:pt x="1" y="636"/>
                        <a:pt x="0" y="636"/>
                        <a:pt x="0" y="63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847" y="0"/>
                        <a:pt x="847" y="0"/>
                        <a:pt x="847" y="0"/>
                      </a:cubicBezTo>
                      <a:cubicBezTo>
                        <a:pt x="847" y="0"/>
                        <a:pt x="848" y="1"/>
                        <a:pt x="848" y="2"/>
                      </a:cubicBezTo>
                      <a:lnTo>
                        <a:pt x="848" y="63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grpSp>
            <p:nvGrpSpPr>
              <p:cNvPr id="58" name="Group 57"/>
              <p:cNvGrpSpPr/>
              <p:nvPr/>
            </p:nvGrpSpPr>
            <p:grpSpPr>
              <a:xfrm>
                <a:off x="1120776" y="2492376"/>
                <a:ext cx="1436688" cy="3519488"/>
                <a:chOff x="1120776" y="2492376"/>
                <a:chExt cx="1436688" cy="3519488"/>
              </a:xfrm>
            </p:grpSpPr>
            <p:sp>
              <p:nvSpPr>
                <p:cNvPr id="59" name="Freeform 64"/>
                <p:cNvSpPr>
                  <a:spLocks/>
                </p:cNvSpPr>
                <p:nvPr/>
              </p:nvSpPr>
              <p:spPr bwMode="auto">
                <a:xfrm>
                  <a:off x="2411413" y="2598738"/>
                  <a:ext cx="131763" cy="1655763"/>
                </a:xfrm>
                <a:custGeom>
                  <a:avLst/>
                  <a:gdLst>
                    <a:gd name="T0" fmla="*/ 14 w 27"/>
                    <a:gd name="T1" fmla="*/ 0 h 340"/>
                    <a:gd name="T2" fmla="*/ 15 w 27"/>
                    <a:gd name="T3" fmla="*/ 5 h 340"/>
                    <a:gd name="T4" fmla="*/ 22 w 27"/>
                    <a:gd name="T5" fmla="*/ 59 h 340"/>
                    <a:gd name="T6" fmla="*/ 3 w 27"/>
                    <a:gd name="T7" fmla="*/ 161 h 340"/>
                    <a:gd name="T8" fmla="*/ 6 w 27"/>
                    <a:gd name="T9" fmla="*/ 235 h 340"/>
                    <a:gd name="T10" fmla="*/ 23 w 27"/>
                    <a:gd name="T11" fmla="*/ 340 h 340"/>
                    <a:gd name="T12" fmla="*/ 27 w 27"/>
                    <a:gd name="T13" fmla="*/ 340 h 340"/>
                    <a:gd name="T14" fmla="*/ 10 w 27"/>
                    <a:gd name="T15" fmla="*/ 239 h 340"/>
                    <a:gd name="T16" fmla="*/ 7 w 27"/>
                    <a:gd name="T17" fmla="*/ 165 h 340"/>
                    <a:gd name="T18" fmla="*/ 26 w 27"/>
                    <a:gd name="T19" fmla="*/ 64 h 340"/>
                    <a:gd name="T20" fmla="*/ 14 w 27"/>
                    <a:gd name="T21" fmla="*/ 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7" h="340">
                      <a:moveTo>
                        <a:pt x="14" y="0"/>
                      </a:moveTo>
                      <a:cubicBezTo>
                        <a:pt x="14" y="2"/>
                        <a:pt x="14" y="4"/>
                        <a:pt x="15" y="5"/>
                      </a:cubicBezTo>
                      <a:cubicBezTo>
                        <a:pt x="22" y="22"/>
                        <a:pt x="23" y="45"/>
                        <a:pt x="22" y="59"/>
                      </a:cubicBezTo>
                      <a:cubicBezTo>
                        <a:pt x="21" y="83"/>
                        <a:pt x="5" y="134"/>
                        <a:pt x="3" y="161"/>
                      </a:cubicBezTo>
                      <a:cubicBezTo>
                        <a:pt x="0" y="188"/>
                        <a:pt x="8" y="211"/>
                        <a:pt x="6" y="235"/>
                      </a:cubicBezTo>
                      <a:cubicBezTo>
                        <a:pt x="4" y="254"/>
                        <a:pt x="21" y="296"/>
                        <a:pt x="23" y="340"/>
                      </a:cubicBezTo>
                      <a:cubicBezTo>
                        <a:pt x="27" y="340"/>
                        <a:pt x="27" y="340"/>
                        <a:pt x="27" y="340"/>
                      </a:cubicBezTo>
                      <a:cubicBezTo>
                        <a:pt x="24" y="297"/>
                        <a:pt x="8" y="258"/>
                        <a:pt x="10" y="239"/>
                      </a:cubicBezTo>
                      <a:cubicBezTo>
                        <a:pt x="12" y="216"/>
                        <a:pt x="5" y="192"/>
                        <a:pt x="7" y="165"/>
                      </a:cubicBezTo>
                      <a:cubicBezTo>
                        <a:pt x="9" y="138"/>
                        <a:pt x="25" y="87"/>
                        <a:pt x="26" y="64"/>
                      </a:cubicBezTo>
                      <a:cubicBezTo>
                        <a:pt x="27" y="47"/>
                        <a:pt x="26" y="17"/>
                        <a:pt x="14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0" name="Freeform 65"/>
                <p:cNvSpPr>
                  <a:spLocks/>
                </p:cNvSpPr>
                <p:nvPr/>
              </p:nvSpPr>
              <p:spPr bwMode="auto">
                <a:xfrm>
                  <a:off x="2459038" y="2565401"/>
                  <a:ext cx="20638" cy="33338"/>
                </a:xfrm>
                <a:custGeom>
                  <a:avLst/>
                  <a:gdLst>
                    <a:gd name="T0" fmla="*/ 0 w 4"/>
                    <a:gd name="T1" fmla="*/ 0 h 7"/>
                    <a:gd name="T2" fmla="*/ 2 w 4"/>
                    <a:gd name="T3" fmla="*/ 5 h 7"/>
                    <a:gd name="T4" fmla="*/ 4 w 4"/>
                    <a:gd name="T5" fmla="*/ 7 h 7"/>
                    <a:gd name="T6" fmla="*/ 0 w 4"/>
                    <a:gd name="T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7">
                      <a:moveTo>
                        <a:pt x="0" y="0"/>
                      </a:moveTo>
                      <a:cubicBezTo>
                        <a:pt x="1" y="2"/>
                        <a:pt x="1" y="3"/>
                        <a:pt x="2" y="5"/>
                      </a:cubicBezTo>
                      <a:cubicBezTo>
                        <a:pt x="2" y="6"/>
                        <a:pt x="3" y="6"/>
                        <a:pt x="4" y="7"/>
                      </a:cubicBezTo>
                      <a:cubicBezTo>
                        <a:pt x="3" y="4"/>
                        <a:pt x="2" y="2"/>
                        <a:pt x="0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1" name="Freeform 66"/>
                <p:cNvSpPr>
                  <a:spLocks/>
                </p:cNvSpPr>
                <p:nvPr/>
              </p:nvSpPr>
              <p:spPr bwMode="auto">
                <a:xfrm>
                  <a:off x="2470151" y="2589213"/>
                  <a:ext cx="14288" cy="33338"/>
                </a:xfrm>
                <a:custGeom>
                  <a:avLst/>
                  <a:gdLst>
                    <a:gd name="T0" fmla="*/ 0 w 3"/>
                    <a:gd name="T1" fmla="*/ 0 h 7"/>
                    <a:gd name="T2" fmla="*/ 0 w 3"/>
                    <a:gd name="T3" fmla="*/ 2 h 7"/>
                    <a:gd name="T4" fmla="*/ 3 w 3"/>
                    <a:gd name="T5" fmla="*/ 7 h 7"/>
                    <a:gd name="T6" fmla="*/ 2 w 3"/>
                    <a:gd name="T7" fmla="*/ 2 h 7"/>
                    <a:gd name="T8" fmla="*/ 0 w 3"/>
                    <a:gd name="T9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7">
                      <a:moveTo>
                        <a:pt x="0" y="0"/>
                      </a:moveTo>
                      <a:cubicBezTo>
                        <a:pt x="0" y="1"/>
                        <a:pt x="0" y="1"/>
                        <a:pt x="0" y="2"/>
                      </a:cubicBezTo>
                      <a:cubicBezTo>
                        <a:pt x="1" y="4"/>
                        <a:pt x="2" y="6"/>
                        <a:pt x="3" y="7"/>
                      </a:cubicBezTo>
                      <a:cubicBezTo>
                        <a:pt x="2" y="6"/>
                        <a:pt x="2" y="4"/>
                        <a:pt x="2" y="2"/>
                      </a:cubicBez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1B1D1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2" name="Freeform 68"/>
                <p:cNvSpPr>
                  <a:spLocks/>
                </p:cNvSpPr>
                <p:nvPr/>
              </p:nvSpPr>
              <p:spPr bwMode="auto">
                <a:xfrm>
                  <a:off x="1120776" y="3286126"/>
                  <a:ext cx="311150" cy="2725738"/>
                </a:xfrm>
                <a:custGeom>
                  <a:avLst/>
                  <a:gdLst>
                    <a:gd name="T0" fmla="*/ 0 w 64"/>
                    <a:gd name="T1" fmla="*/ 560 h 560"/>
                    <a:gd name="T2" fmla="*/ 62 w 64"/>
                    <a:gd name="T3" fmla="*/ 313 h 560"/>
                    <a:gd name="T4" fmla="*/ 57 w 64"/>
                    <a:gd name="T5" fmla="*/ 0 h 5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4" h="560">
                      <a:moveTo>
                        <a:pt x="0" y="560"/>
                      </a:moveTo>
                      <a:cubicBezTo>
                        <a:pt x="19" y="510"/>
                        <a:pt x="64" y="401"/>
                        <a:pt x="62" y="313"/>
                      </a:cubicBezTo>
                      <a:cubicBezTo>
                        <a:pt x="59" y="218"/>
                        <a:pt x="19" y="10"/>
                        <a:pt x="57" y="0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3" name="Freeform 69"/>
                <p:cNvSpPr>
                  <a:spLocks/>
                </p:cNvSpPr>
                <p:nvPr/>
              </p:nvSpPr>
              <p:spPr bwMode="auto">
                <a:xfrm>
                  <a:off x="1120776" y="2492376"/>
                  <a:ext cx="1436688" cy="3519488"/>
                </a:xfrm>
                <a:custGeom>
                  <a:avLst/>
                  <a:gdLst>
                    <a:gd name="T0" fmla="*/ 57 w 295"/>
                    <a:gd name="T1" fmla="*/ 163 h 723"/>
                    <a:gd name="T2" fmla="*/ 129 w 295"/>
                    <a:gd name="T3" fmla="*/ 133 h 723"/>
                    <a:gd name="T4" fmla="*/ 191 w 295"/>
                    <a:gd name="T5" fmla="*/ 104 h 723"/>
                    <a:gd name="T6" fmla="*/ 202 w 295"/>
                    <a:gd name="T7" fmla="*/ 50 h 723"/>
                    <a:gd name="T8" fmla="*/ 255 w 295"/>
                    <a:gd name="T9" fmla="*/ 5 h 723"/>
                    <a:gd name="T10" fmla="*/ 287 w 295"/>
                    <a:gd name="T11" fmla="*/ 81 h 723"/>
                    <a:gd name="T12" fmla="*/ 268 w 295"/>
                    <a:gd name="T13" fmla="*/ 183 h 723"/>
                    <a:gd name="T14" fmla="*/ 271 w 295"/>
                    <a:gd name="T15" fmla="*/ 257 h 723"/>
                    <a:gd name="T16" fmla="*/ 287 w 295"/>
                    <a:gd name="T17" fmla="*/ 394 h 723"/>
                    <a:gd name="T18" fmla="*/ 231 w 295"/>
                    <a:gd name="T19" fmla="*/ 549 h 723"/>
                    <a:gd name="T20" fmla="*/ 188 w 295"/>
                    <a:gd name="T21" fmla="*/ 723 h 723"/>
                    <a:gd name="T22" fmla="*/ 0 w 295"/>
                    <a:gd name="T23" fmla="*/ 723 h 723"/>
                    <a:gd name="T24" fmla="*/ 57 w 295"/>
                    <a:gd name="T25" fmla="*/ 163 h 7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95" h="723">
                      <a:moveTo>
                        <a:pt x="57" y="163"/>
                      </a:moveTo>
                      <a:cubicBezTo>
                        <a:pt x="72" y="151"/>
                        <a:pt x="106" y="143"/>
                        <a:pt x="129" y="133"/>
                      </a:cubicBezTo>
                      <a:cubicBezTo>
                        <a:pt x="153" y="122"/>
                        <a:pt x="185" y="107"/>
                        <a:pt x="191" y="104"/>
                      </a:cubicBezTo>
                      <a:cubicBezTo>
                        <a:pt x="196" y="101"/>
                        <a:pt x="195" y="74"/>
                        <a:pt x="202" y="50"/>
                      </a:cubicBezTo>
                      <a:cubicBezTo>
                        <a:pt x="210" y="27"/>
                        <a:pt x="224" y="0"/>
                        <a:pt x="255" y="5"/>
                      </a:cubicBezTo>
                      <a:cubicBezTo>
                        <a:pt x="286" y="11"/>
                        <a:pt x="288" y="58"/>
                        <a:pt x="287" y="81"/>
                      </a:cubicBezTo>
                      <a:cubicBezTo>
                        <a:pt x="286" y="105"/>
                        <a:pt x="270" y="156"/>
                        <a:pt x="268" y="183"/>
                      </a:cubicBezTo>
                      <a:cubicBezTo>
                        <a:pt x="265" y="210"/>
                        <a:pt x="273" y="233"/>
                        <a:pt x="271" y="257"/>
                      </a:cubicBezTo>
                      <a:cubicBezTo>
                        <a:pt x="269" y="281"/>
                        <a:pt x="295" y="339"/>
                        <a:pt x="287" y="394"/>
                      </a:cubicBezTo>
                      <a:cubicBezTo>
                        <a:pt x="279" y="449"/>
                        <a:pt x="249" y="502"/>
                        <a:pt x="231" y="549"/>
                      </a:cubicBezTo>
                      <a:cubicBezTo>
                        <a:pt x="215" y="594"/>
                        <a:pt x="192" y="670"/>
                        <a:pt x="188" y="723"/>
                      </a:cubicBezTo>
                      <a:cubicBezTo>
                        <a:pt x="0" y="723"/>
                        <a:pt x="0" y="723"/>
                        <a:pt x="0" y="723"/>
                      </a:cubicBezTo>
                      <a:cubicBezTo>
                        <a:pt x="57" y="163"/>
                        <a:pt x="57" y="163"/>
                        <a:pt x="57" y="163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4" name="Freeform 70"/>
                <p:cNvSpPr>
                  <a:spLocks/>
                </p:cNvSpPr>
                <p:nvPr/>
              </p:nvSpPr>
              <p:spPr bwMode="auto">
                <a:xfrm>
                  <a:off x="2060576" y="2968626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C1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5" name="Freeform 71"/>
                <p:cNvSpPr>
                  <a:spLocks noEditPoints="1"/>
                </p:cNvSpPr>
                <p:nvPr/>
              </p:nvSpPr>
              <p:spPr bwMode="auto">
                <a:xfrm>
                  <a:off x="1700213" y="2968626"/>
                  <a:ext cx="360363" cy="842963"/>
                </a:xfrm>
                <a:custGeom>
                  <a:avLst/>
                  <a:gdLst>
                    <a:gd name="T0" fmla="*/ 74 w 74"/>
                    <a:gd name="T1" fmla="*/ 3 h 173"/>
                    <a:gd name="T2" fmla="*/ 56 w 74"/>
                    <a:gd name="T3" fmla="*/ 50 h 173"/>
                    <a:gd name="T4" fmla="*/ 52 w 74"/>
                    <a:gd name="T5" fmla="*/ 49 h 173"/>
                    <a:gd name="T6" fmla="*/ 39 w 74"/>
                    <a:gd name="T7" fmla="*/ 44 h 173"/>
                    <a:gd name="T8" fmla="*/ 51 w 74"/>
                    <a:gd name="T9" fmla="*/ 57 h 173"/>
                    <a:gd name="T10" fmla="*/ 57 w 74"/>
                    <a:gd name="T11" fmla="*/ 66 h 173"/>
                    <a:gd name="T12" fmla="*/ 9 w 74"/>
                    <a:gd name="T13" fmla="*/ 53 h 173"/>
                    <a:gd name="T14" fmla="*/ 4 w 74"/>
                    <a:gd name="T15" fmla="*/ 53 h 173"/>
                    <a:gd name="T16" fmla="*/ 58 w 74"/>
                    <a:gd name="T17" fmla="*/ 83 h 173"/>
                    <a:gd name="T18" fmla="*/ 53 w 74"/>
                    <a:gd name="T19" fmla="*/ 92 h 173"/>
                    <a:gd name="T20" fmla="*/ 16 w 74"/>
                    <a:gd name="T21" fmla="*/ 77 h 173"/>
                    <a:gd name="T22" fmla="*/ 12 w 74"/>
                    <a:gd name="T23" fmla="*/ 76 h 173"/>
                    <a:gd name="T24" fmla="*/ 49 w 74"/>
                    <a:gd name="T25" fmla="*/ 108 h 173"/>
                    <a:gd name="T26" fmla="*/ 21 w 74"/>
                    <a:gd name="T27" fmla="*/ 139 h 173"/>
                    <a:gd name="T28" fmla="*/ 14 w 74"/>
                    <a:gd name="T29" fmla="*/ 144 h 173"/>
                    <a:gd name="T30" fmla="*/ 32 w 74"/>
                    <a:gd name="T31" fmla="*/ 142 h 173"/>
                    <a:gd name="T32" fmla="*/ 32 w 74"/>
                    <a:gd name="T33" fmla="*/ 142 h 173"/>
                    <a:gd name="T34" fmla="*/ 30 w 74"/>
                    <a:gd name="T35" fmla="*/ 158 h 173"/>
                    <a:gd name="T36" fmla="*/ 20 w 74"/>
                    <a:gd name="T37" fmla="*/ 173 h 173"/>
                    <a:gd name="T38" fmla="*/ 20 w 74"/>
                    <a:gd name="T39" fmla="*/ 173 h 173"/>
                    <a:gd name="T40" fmla="*/ 33 w 74"/>
                    <a:gd name="T41" fmla="*/ 158 h 173"/>
                    <a:gd name="T42" fmla="*/ 74 w 74"/>
                    <a:gd name="T43" fmla="*/ 3 h 173"/>
                    <a:gd name="T44" fmla="*/ 74 w 74"/>
                    <a:gd name="T45" fmla="*/ 0 h 173"/>
                    <a:gd name="T46" fmla="*/ 74 w 74"/>
                    <a:gd name="T47" fmla="*/ 1 h 173"/>
                    <a:gd name="T48" fmla="*/ 74 w 74"/>
                    <a:gd name="T49" fmla="*/ 3 h 173"/>
                    <a:gd name="T50" fmla="*/ 74 w 74"/>
                    <a:gd name="T51" fmla="*/ 0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74" h="173">
                      <a:moveTo>
                        <a:pt x="74" y="3"/>
                      </a:moveTo>
                      <a:cubicBezTo>
                        <a:pt x="69" y="39"/>
                        <a:pt x="63" y="50"/>
                        <a:pt x="56" y="50"/>
                      </a:cubicBezTo>
                      <a:cubicBezTo>
                        <a:pt x="55" y="50"/>
                        <a:pt x="54" y="49"/>
                        <a:pt x="52" y="49"/>
                      </a:cubicBezTo>
                      <a:cubicBezTo>
                        <a:pt x="48" y="47"/>
                        <a:pt x="41" y="44"/>
                        <a:pt x="39" y="44"/>
                      </a:cubicBezTo>
                      <a:cubicBezTo>
                        <a:pt x="36" y="44"/>
                        <a:pt x="38" y="47"/>
                        <a:pt x="51" y="57"/>
                      </a:cubicBezTo>
                      <a:cubicBezTo>
                        <a:pt x="59" y="64"/>
                        <a:pt x="60" y="66"/>
                        <a:pt x="57" y="66"/>
                      </a:cubicBezTo>
                      <a:cubicBezTo>
                        <a:pt x="50" y="66"/>
                        <a:pt x="24" y="56"/>
                        <a:pt x="9" y="53"/>
                      </a:cubicBezTo>
                      <a:cubicBezTo>
                        <a:pt x="6" y="53"/>
                        <a:pt x="5" y="53"/>
                        <a:pt x="4" y="53"/>
                      </a:cubicBezTo>
                      <a:cubicBezTo>
                        <a:pt x="0" y="53"/>
                        <a:pt x="56" y="64"/>
                        <a:pt x="58" y="83"/>
                      </a:cubicBezTo>
                      <a:cubicBezTo>
                        <a:pt x="59" y="89"/>
                        <a:pt x="57" y="92"/>
                        <a:pt x="53" y="92"/>
                      </a:cubicBezTo>
                      <a:cubicBezTo>
                        <a:pt x="44" y="92"/>
                        <a:pt x="27" y="81"/>
                        <a:pt x="16" y="77"/>
                      </a:cubicBezTo>
                      <a:cubicBezTo>
                        <a:pt x="14" y="77"/>
                        <a:pt x="13" y="76"/>
                        <a:pt x="12" y="76"/>
                      </a:cubicBezTo>
                      <a:cubicBezTo>
                        <a:pt x="7" y="76"/>
                        <a:pt x="42" y="98"/>
                        <a:pt x="49" y="108"/>
                      </a:cubicBezTo>
                      <a:cubicBezTo>
                        <a:pt x="58" y="119"/>
                        <a:pt x="41" y="133"/>
                        <a:pt x="21" y="139"/>
                      </a:cubicBezTo>
                      <a:cubicBezTo>
                        <a:pt x="10" y="143"/>
                        <a:pt x="9" y="144"/>
                        <a:pt x="14" y="144"/>
                      </a:cubicBezTo>
                      <a:cubicBezTo>
                        <a:pt x="17" y="144"/>
                        <a:pt x="24" y="143"/>
                        <a:pt x="32" y="142"/>
                      </a:cubicBezTo>
                      <a:cubicBezTo>
                        <a:pt x="32" y="142"/>
                        <a:pt x="32" y="142"/>
                        <a:pt x="32" y="142"/>
                      </a:cubicBezTo>
                      <a:cubicBezTo>
                        <a:pt x="38" y="142"/>
                        <a:pt x="35" y="150"/>
                        <a:pt x="30" y="158"/>
                      </a:cubicBezTo>
                      <a:cubicBezTo>
                        <a:pt x="26" y="165"/>
                        <a:pt x="20" y="173"/>
                        <a:pt x="20" y="173"/>
                      </a:cubicBezTo>
                      <a:cubicBezTo>
                        <a:pt x="20" y="173"/>
                        <a:pt x="20" y="173"/>
                        <a:pt x="20" y="173"/>
                      </a:cubicBezTo>
                      <a:cubicBezTo>
                        <a:pt x="21" y="173"/>
                        <a:pt x="24" y="169"/>
                        <a:pt x="33" y="158"/>
                      </a:cubicBezTo>
                      <a:cubicBezTo>
                        <a:pt x="67" y="116"/>
                        <a:pt x="71" y="25"/>
                        <a:pt x="74" y="3"/>
                      </a:cubicBezTo>
                      <a:moveTo>
                        <a:pt x="74" y="0"/>
                      </a:moveTo>
                      <a:cubicBezTo>
                        <a:pt x="74" y="1"/>
                        <a:pt x="74" y="1"/>
                        <a:pt x="74" y="1"/>
                      </a:cubicBezTo>
                      <a:cubicBezTo>
                        <a:pt x="74" y="1"/>
                        <a:pt x="74" y="2"/>
                        <a:pt x="74" y="3"/>
                      </a:cubicBezTo>
                      <a:cubicBezTo>
                        <a:pt x="74" y="2"/>
                        <a:pt x="74" y="1"/>
                        <a:pt x="7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6" name="Freeform 72"/>
                <p:cNvSpPr>
                  <a:spLocks noEditPoints="1"/>
                </p:cNvSpPr>
                <p:nvPr/>
              </p:nvSpPr>
              <p:spPr bwMode="auto">
                <a:xfrm>
                  <a:off x="2114551" y="2998788"/>
                  <a:ext cx="315913" cy="146050"/>
                </a:xfrm>
                <a:custGeom>
                  <a:avLst/>
                  <a:gdLst>
                    <a:gd name="T0" fmla="*/ 9 w 65"/>
                    <a:gd name="T1" fmla="*/ 18 h 30"/>
                    <a:gd name="T2" fmla="*/ 58 w 65"/>
                    <a:gd name="T3" fmla="*/ 30 h 30"/>
                    <a:gd name="T4" fmla="*/ 59 w 65"/>
                    <a:gd name="T5" fmla="*/ 30 h 30"/>
                    <a:gd name="T6" fmla="*/ 65 w 65"/>
                    <a:gd name="T7" fmla="*/ 30 h 30"/>
                    <a:gd name="T8" fmla="*/ 65 w 65"/>
                    <a:gd name="T9" fmla="*/ 30 h 30"/>
                    <a:gd name="T10" fmla="*/ 9 w 65"/>
                    <a:gd name="T11" fmla="*/ 18 h 30"/>
                    <a:gd name="T12" fmla="*/ 14 w 65"/>
                    <a:gd name="T13" fmla="*/ 0 h 30"/>
                    <a:gd name="T14" fmla="*/ 12 w 65"/>
                    <a:gd name="T15" fmla="*/ 0 h 30"/>
                    <a:gd name="T16" fmla="*/ 0 w 65"/>
                    <a:gd name="T17" fmla="*/ 1 h 30"/>
                    <a:gd name="T18" fmla="*/ 29 w 65"/>
                    <a:gd name="T19" fmla="*/ 4 h 30"/>
                    <a:gd name="T20" fmla="*/ 43 w 65"/>
                    <a:gd name="T21" fmla="*/ 2 h 30"/>
                    <a:gd name="T22" fmla="*/ 14 w 65"/>
                    <a:gd name="T23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5" h="30">
                      <a:moveTo>
                        <a:pt x="9" y="18"/>
                      </a:moveTo>
                      <a:cubicBezTo>
                        <a:pt x="22" y="24"/>
                        <a:pt x="44" y="30"/>
                        <a:pt x="58" y="30"/>
                      </a:cubicBezTo>
                      <a:cubicBezTo>
                        <a:pt x="59" y="30"/>
                        <a:pt x="59" y="30"/>
                        <a:pt x="59" y="30"/>
                      </a:cubicBezTo>
                      <a:cubicBezTo>
                        <a:pt x="62" y="30"/>
                        <a:pt x="64" y="30"/>
                        <a:pt x="65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55" y="29"/>
                        <a:pt x="26" y="21"/>
                        <a:pt x="9" y="18"/>
                      </a:cubicBezTo>
                      <a:moveTo>
                        <a:pt x="14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8" y="0"/>
                        <a:pt x="3" y="0"/>
                        <a:pt x="0" y="1"/>
                      </a:cubicBezTo>
                      <a:cubicBezTo>
                        <a:pt x="5" y="2"/>
                        <a:pt x="17" y="4"/>
                        <a:pt x="29" y="4"/>
                      </a:cubicBezTo>
                      <a:cubicBezTo>
                        <a:pt x="34" y="4"/>
                        <a:pt x="39" y="4"/>
                        <a:pt x="43" y="2"/>
                      </a:cubicBezTo>
                      <a:cubicBezTo>
                        <a:pt x="36" y="2"/>
                        <a:pt x="24" y="0"/>
                        <a:pt x="1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7" name="Freeform 73"/>
                <p:cNvSpPr>
                  <a:spLocks noEditPoints="1"/>
                </p:cNvSpPr>
                <p:nvPr/>
              </p:nvSpPr>
              <p:spPr bwMode="auto">
                <a:xfrm>
                  <a:off x="2211388" y="2497138"/>
                  <a:ext cx="247650" cy="68263"/>
                </a:xfrm>
                <a:custGeom>
                  <a:avLst/>
                  <a:gdLst>
                    <a:gd name="T0" fmla="*/ 34 w 51"/>
                    <a:gd name="T1" fmla="*/ 2 h 14"/>
                    <a:gd name="T2" fmla="*/ 34 w 51"/>
                    <a:gd name="T3" fmla="*/ 2 h 14"/>
                    <a:gd name="T4" fmla="*/ 37 w 51"/>
                    <a:gd name="T5" fmla="*/ 3 h 14"/>
                    <a:gd name="T6" fmla="*/ 37 w 51"/>
                    <a:gd name="T7" fmla="*/ 3 h 14"/>
                    <a:gd name="T8" fmla="*/ 36 w 51"/>
                    <a:gd name="T9" fmla="*/ 6 h 14"/>
                    <a:gd name="T10" fmla="*/ 51 w 51"/>
                    <a:gd name="T11" fmla="*/ 14 h 14"/>
                    <a:gd name="T12" fmla="*/ 34 w 51"/>
                    <a:gd name="T13" fmla="*/ 2 h 14"/>
                    <a:gd name="T14" fmla="*/ 26 w 51"/>
                    <a:gd name="T15" fmla="*/ 0 h 14"/>
                    <a:gd name="T16" fmla="*/ 26 w 51"/>
                    <a:gd name="T17" fmla="*/ 0 h 14"/>
                    <a:gd name="T18" fmla="*/ 26 w 51"/>
                    <a:gd name="T19" fmla="*/ 0 h 14"/>
                    <a:gd name="T20" fmla="*/ 20 w 51"/>
                    <a:gd name="T21" fmla="*/ 0 h 14"/>
                    <a:gd name="T22" fmla="*/ 0 w 51"/>
                    <a:gd name="T23" fmla="*/ 12 h 14"/>
                    <a:gd name="T24" fmla="*/ 19 w 51"/>
                    <a:gd name="T25" fmla="*/ 4 h 14"/>
                    <a:gd name="T26" fmla="*/ 19 w 51"/>
                    <a:gd name="T27" fmla="*/ 0 h 14"/>
                    <a:gd name="T28" fmla="*/ 20 w 51"/>
                    <a:gd name="T29" fmla="*/ 0 h 14"/>
                    <a:gd name="T30" fmla="*/ 26 w 51"/>
                    <a:gd name="T31" fmla="*/ 0 h 14"/>
                    <a:gd name="T32" fmla="*/ 20 w 51"/>
                    <a:gd name="T3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1" h="14">
                      <a:moveTo>
                        <a:pt x="34" y="2"/>
                      </a:moveTo>
                      <a:cubicBezTo>
                        <a:pt x="34" y="2"/>
                        <a:pt x="34" y="2"/>
                        <a:pt x="34" y="2"/>
                      </a:cubicBezTo>
                      <a:cubicBezTo>
                        <a:pt x="35" y="2"/>
                        <a:pt x="36" y="2"/>
                        <a:pt x="37" y="3"/>
                      </a:cubicBezTo>
                      <a:cubicBezTo>
                        <a:pt x="37" y="3"/>
                        <a:pt x="37" y="3"/>
                        <a:pt x="37" y="3"/>
                      </a:cubicBezTo>
                      <a:cubicBezTo>
                        <a:pt x="36" y="6"/>
                        <a:pt x="36" y="6"/>
                        <a:pt x="36" y="6"/>
                      </a:cubicBezTo>
                      <a:cubicBezTo>
                        <a:pt x="43" y="7"/>
                        <a:pt x="48" y="10"/>
                        <a:pt x="51" y="14"/>
                      </a:cubicBezTo>
                      <a:cubicBezTo>
                        <a:pt x="48" y="7"/>
                        <a:pt x="42" y="4"/>
                        <a:pt x="34" y="2"/>
                      </a:cubicBezTo>
                      <a:moveTo>
                        <a:pt x="26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moveTo>
                        <a:pt x="20" y="0"/>
                      </a:moveTo>
                      <a:cubicBezTo>
                        <a:pt x="9" y="0"/>
                        <a:pt x="3" y="4"/>
                        <a:pt x="0" y="12"/>
                      </a:cubicBezTo>
                      <a:cubicBezTo>
                        <a:pt x="5" y="8"/>
                        <a:pt x="11" y="5"/>
                        <a:pt x="19" y="4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2" y="0"/>
                        <a:pt x="24" y="0"/>
                        <a:pt x="26" y="0"/>
                      </a:cubicBezTo>
                      <a:cubicBezTo>
                        <a:pt x="24" y="0"/>
                        <a:pt x="22" y="0"/>
                        <a:pt x="20" y="0"/>
                      </a:cubicBezTo>
                    </a:path>
                  </a:pathLst>
                </a:custGeom>
                <a:solidFill>
                  <a:srgbClr val="7674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8" name="Freeform 74"/>
                <p:cNvSpPr>
                  <a:spLocks/>
                </p:cNvSpPr>
                <p:nvPr/>
              </p:nvSpPr>
              <p:spPr bwMode="auto">
                <a:xfrm>
                  <a:off x="2386013" y="2525713"/>
                  <a:ext cx="84138" cy="63500"/>
                </a:xfrm>
                <a:custGeom>
                  <a:avLst/>
                  <a:gdLst>
                    <a:gd name="T0" fmla="*/ 0 w 17"/>
                    <a:gd name="T1" fmla="*/ 0 h 13"/>
                    <a:gd name="T2" fmla="*/ 0 w 17"/>
                    <a:gd name="T3" fmla="*/ 0 h 13"/>
                    <a:gd name="T4" fmla="*/ 13 w 17"/>
                    <a:gd name="T5" fmla="*/ 9 h 13"/>
                    <a:gd name="T6" fmla="*/ 17 w 17"/>
                    <a:gd name="T7" fmla="*/ 13 h 13"/>
                    <a:gd name="T8" fmla="*/ 15 w 17"/>
                    <a:gd name="T9" fmla="*/ 8 h 13"/>
                    <a:gd name="T10" fmla="*/ 0 w 17"/>
                    <a:gd name="T1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" h="1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2"/>
                        <a:pt x="9" y="5"/>
                        <a:pt x="13" y="9"/>
                      </a:cubicBezTo>
                      <a:cubicBezTo>
                        <a:pt x="14" y="10"/>
                        <a:pt x="16" y="11"/>
                        <a:pt x="17" y="13"/>
                      </a:cubicBezTo>
                      <a:cubicBezTo>
                        <a:pt x="16" y="11"/>
                        <a:pt x="16" y="10"/>
                        <a:pt x="15" y="8"/>
                      </a:cubicBezTo>
                      <a:cubicBezTo>
                        <a:pt x="12" y="4"/>
                        <a:pt x="7" y="1"/>
                        <a:pt x="0" y="0"/>
                      </a:cubicBezTo>
                    </a:path>
                  </a:pathLst>
                </a:custGeom>
                <a:solidFill>
                  <a:srgbClr val="74717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9" name="Freeform 75"/>
                <p:cNvSpPr>
                  <a:spLocks/>
                </p:cNvSpPr>
                <p:nvPr/>
              </p:nvSpPr>
              <p:spPr bwMode="auto">
                <a:xfrm>
                  <a:off x="2449513" y="2570163"/>
                  <a:ext cx="20638" cy="28575"/>
                </a:xfrm>
                <a:custGeom>
                  <a:avLst/>
                  <a:gdLst>
                    <a:gd name="T0" fmla="*/ 0 w 4"/>
                    <a:gd name="T1" fmla="*/ 0 h 6"/>
                    <a:gd name="T2" fmla="*/ 4 w 4"/>
                    <a:gd name="T3" fmla="*/ 6 h 6"/>
                    <a:gd name="T4" fmla="*/ 4 w 4"/>
                    <a:gd name="T5" fmla="*/ 4 h 6"/>
                    <a:gd name="T6" fmla="*/ 0 w 4"/>
                    <a:gd name="T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6">
                      <a:moveTo>
                        <a:pt x="0" y="0"/>
                      </a:moveTo>
                      <a:cubicBezTo>
                        <a:pt x="1" y="2"/>
                        <a:pt x="3" y="4"/>
                        <a:pt x="4" y="6"/>
                      </a:cubicBezTo>
                      <a:cubicBezTo>
                        <a:pt x="4" y="5"/>
                        <a:pt x="4" y="5"/>
                        <a:pt x="4" y="4"/>
                      </a:cubicBezTo>
                      <a:cubicBezTo>
                        <a:pt x="3" y="2"/>
                        <a:pt x="1" y="1"/>
                        <a:pt x="0" y="0"/>
                      </a:cubicBezTo>
                    </a:path>
                  </a:pathLst>
                </a:custGeom>
                <a:solidFill>
                  <a:srgbClr val="72707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0" name="Freeform 76"/>
                <p:cNvSpPr>
                  <a:spLocks noEditPoints="1"/>
                </p:cNvSpPr>
                <p:nvPr/>
              </p:nvSpPr>
              <p:spPr bwMode="auto">
                <a:xfrm>
                  <a:off x="2182813" y="2516188"/>
                  <a:ext cx="292100" cy="315913"/>
                </a:xfrm>
                <a:custGeom>
                  <a:avLst/>
                  <a:gdLst>
                    <a:gd name="T0" fmla="*/ 27 w 60"/>
                    <a:gd name="T1" fmla="*/ 64 h 65"/>
                    <a:gd name="T2" fmla="*/ 34 w 60"/>
                    <a:gd name="T3" fmla="*/ 65 h 65"/>
                    <a:gd name="T4" fmla="*/ 31 w 60"/>
                    <a:gd name="T5" fmla="*/ 64 h 65"/>
                    <a:gd name="T6" fmla="*/ 31 w 60"/>
                    <a:gd name="T7" fmla="*/ 64 h 65"/>
                    <a:gd name="T8" fmla="*/ 30 w 60"/>
                    <a:gd name="T9" fmla="*/ 64 h 65"/>
                    <a:gd name="T10" fmla="*/ 27 w 60"/>
                    <a:gd name="T11" fmla="*/ 64 h 65"/>
                    <a:gd name="T12" fmla="*/ 27 w 60"/>
                    <a:gd name="T13" fmla="*/ 64 h 65"/>
                    <a:gd name="T14" fmla="*/ 27 w 60"/>
                    <a:gd name="T15" fmla="*/ 64 h 65"/>
                    <a:gd name="T16" fmla="*/ 27 w 60"/>
                    <a:gd name="T17" fmla="*/ 64 h 65"/>
                    <a:gd name="T18" fmla="*/ 42 w 60"/>
                    <a:gd name="T19" fmla="*/ 2 h 65"/>
                    <a:gd name="T20" fmla="*/ 34 w 60"/>
                    <a:gd name="T21" fmla="*/ 65 h 65"/>
                    <a:gd name="T22" fmla="*/ 37 w 60"/>
                    <a:gd name="T23" fmla="*/ 65 h 65"/>
                    <a:gd name="T24" fmla="*/ 58 w 60"/>
                    <a:gd name="T25" fmla="*/ 35 h 65"/>
                    <a:gd name="T26" fmla="*/ 58 w 60"/>
                    <a:gd name="T27" fmla="*/ 35 h 65"/>
                    <a:gd name="T28" fmla="*/ 59 w 60"/>
                    <a:gd name="T29" fmla="*/ 17 h 65"/>
                    <a:gd name="T30" fmla="*/ 59 w 60"/>
                    <a:gd name="T31" fmla="*/ 17 h 65"/>
                    <a:gd name="T32" fmla="*/ 59 w 60"/>
                    <a:gd name="T33" fmla="*/ 17 h 65"/>
                    <a:gd name="T34" fmla="*/ 55 w 60"/>
                    <a:gd name="T35" fmla="*/ 11 h 65"/>
                    <a:gd name="T36" fmla="*/ 42 w 60"/>
                    <a:gd name="T37" fmla="*/ 2 h 65"/>
                    <a:gd name="T38" fmla="*/ 25 w 60"/>
                    <a:gd name="T39" fmla="*/ 0 h 65"/>
                    <a:gd name="T40" fmla="*/ 6 w 60"/>
                    <a:gd name="T41" fmla="*/ 8 h 65"/>
                    <a:gd name="T42" fmla="*/ 6 w 60"/>
                    <a:gd name="T43" fmla="*/ 8 h 65"/>
                    <a:gd name="T44" fmla="*/ 6 w 60"/>
                    <a:gd name="T45" fmla="*/ 8 h 65"/>
                    <a:gd name="T46" fmla="*/ 6 w 60"/>
                    <a:gd name="T47" fmla="*/ 8 h 65"/>
                    <a:gd name="T48" fmla="*/ 3 w 60"/>
                    <a:gd name="T49" fmla="*/ 19 h 65"/>
                    <a:gd name="T50" fmla="*/ 1 w 60"/>
                    <a:gd name="T51" fmla="*/ 28 h 65"/>
                    <a:gd name="T52" fmla="*/ 0 w 60"/>
                    <a:gd name="T53" fmla="*/ 40 h 65"/>
                    <a:gd name="T54" fmla="*/ 0 w 60"/>
                    <a:gd name="T55" fmla="*/ 40 h 65"/>
                    <a:gd name="T56" fmla="*/ 2 w 60"/>
                    <a:gd name="T57" fmla="*/ 50 h 65"/>
                    <a:gd name="T58" fmla="*/ 20 w 60"/>
                    <a:gd name="T59" fmla="*/ 62 h 65"/>
                    <a:gd name="T60" fmla="*/ 17 w 60"/>
                    <a:gd name="T61" fmla="*/ 61 h 65"/>
                    <a:gd name="T62" fmla="*/ 25 w 60"/>
                    <a:gd name="T63" fmla="*/ 0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0" h="65">
                      <a:moveTo>
                        <a:pt x="27" y="64"/>
                      </a:moveTo>
                      <a:cubicBezTo>
                        <a:pt x="30" y="64"/>
                        <a:pt x="32" y="64"/>
                        <a:pt x="34" y="65"/>
                      </a:cubicBezTo>
                      <a:cubicBezTo>
                        <a:pt x="33" y="65"/>
                        <a:pt x="32" y="64"/>
                        <a:pt x="31" y="64"/>
                      </a:cubicBezTo>
                      <a:cubicBezTo>
                        <a:pt x="31" y="64"/>
                        <a:pt x="31" y="64"/>
                        <a:pt x="31" y="64"/>
                      </a:cubicBezTo>
                      <a:cubicBezTo>
                        <a:pt x="31" y="64"/>
                        <a:pt x="31" y="64"/>
                        <a:pt x="30" y="64"/>
                      </a:cubicBezTo>
                      <a:cubicBezTo>
                        <a:pt x="29" y="64"/>
                        <a:pt x="28" y="64"/>
                        <a:pt x="27" y="64"/>
                      </a:cubicBezTo>
                      <a:moveTo>
                        <a:pt x="27" y="64"/>
                      </a:move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moveTo>
                        <a:pt x="42" y="2"/>
                      </a:moveTo>
                      <a:cubicBezTo>
                        <a:pt x="34" y="65"/>
                        <a:pt x="34" y="65"/>
                        <a:pt x="34" y="65"/>
                      </a:cubicBezTo>
                      <a:cubicBezTo>
                        <a:pt x="35" y="65"/>
                        <a:pt x="36" y="65"/>
                        <a:pt x="37" y="65"/>
                      </a:cubicBezTo>
                      <a:cubicBezTo>
                        <a:pt x="51" y="65"/>
                        <a:pt x="54" y="57"/>
                        <a:pt x="58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28"/>
                        <a:pt x="60" y="22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8" y="15"/>
                        <a:pt x="56" y="13"/>
                        <a:pt x="55" y="11"/>
                      </a:cubicBezTo>
                      <a:cubicBezTo>
                        <a:pt x="51" y="7"/>
                        <a:pt x="47" y="4"/>
                        <a:pt x="42" y="2"/>
                      </a:cubicBezTo>
                      <a:moveTo>
                        <a:pt x="25" y="0"/>
                      </a:moveTo>
                      <a:cubicBezTo>
                        <a:pt x="17" y="1"/>
                        <a:pt x="11" y="4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5" y="11"/>
                        <a:pt x="4" y="15"/>
                        <a:pt x="3" y="19"/>
                      </a:cubicBezTo>
                      <a:cubicBezTo>
                        <a:pt x="2" y="22"/>
                        <a:pt x="1" y="25"/>
                        <a:pt x="1" y="28"/>
                      </a:cubicBezTo>
                      <a:cubicBezTo>
                        <a:pt x="0" y="32"/>
                        <a:pt x="0" y="36"/>
                        <a:pt x="0" y="40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4"/>
                        <a:pt x="0" y="47"/>
                        <a:pt x="2" y="50"/>
                      </a:cubicBezTo>
                      <a:cubicBezTo>
                        <a:pt x="4" y="56"/>
                        <a:pt x="10" y="60"/>
                        <a:pt x="20" y="62"/>
                      </a:cubicBezTo>
                      <a:cubicBezTo>
                        <a:pt x="19" y="62"/>
                        <a:pt x="18" y="62"/>
                        <a:pt x="17" y="61"/>
                      </a:cubicBezTo>
                      <a:cubicBezTo>
                        <a:pt x="25" y="0"/>
                        <a:pt x="25" y="0"/>
                        <a:pt x="25" y="0"/>
                      </a:cubicBezTo>
                    </a:path>
                  </a:pathLst>
                </a:custGeom>
                <a:solidFill>
                  <a:srgbClr val="E8CD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1" name="Freeform 77"/>
                <p:cNvSpPr>
                  <a:spLocks/>
                </p:cNvSpPr>
                <p:nvPr/>
              </p:nvSpPr>
              <p:spPr bwMode="auto">
                <a:xfrm>
                  <a:off x="2157413" y="2555876"/>
                  <a:ext cx="322263" cy="287338"/>
                </a:xfrm>
                <a:custGeom>
                  <a:avLst/>
                  <a:gdLst>
                    <a:gd name="T0" fmla="*/ 11 w 66"/>
                    <a:gd name="T1" fmla="*/ 0 h 59"/>
                    <a:gd name="T2" fmla="*/ 8 w 66"/>
                    <a:gd name="T3" fmla="*/ 2 h 59"/>
                    <a:gd name="T4" fmla="*/ 4 w 66"/>
                    <a:gd name="T5" fmla="*/ 20 h 59"/>
                    <a:gd name="T6" fmla="*/ 30 w 66"/>
                    <a:gd name="T7" fmla="*/ 57 h 59"/>
                    <a:gd name="T8" fmla="*/ 42 w 66"/>
                    <a:gd name="T9" fmla="*/ 59 h 59"/>
                    <a:gd name="T10" fmla="*/ 43 w 66"/>
                    <a:gd name="T11" fmla="*/ 59 h 59"/>
                    <a:gd name="T12" fmla="*/ 65 w 66"/>
                    <a:gd name="T13" fmla="*/ 27 h 59"/>
                    <a:gd name="T14" fmla="*/ 66 w 66"/>
                    <a:gd name="T15" fmla="*/ 13 h 59"/>
                    <a:gd name="T16" fmla="*/ 64 w 66"/>
                    <a:gd name="T17" fmla="*/ 9 h 59"/>
                    <a:gd name="T18" fmla="*/ 65 w 66"/>
                    <a:gd name="T19" fmla="*/ 14 h 59"/>
                    <a:gd name="T20" fmla="*/ 65 w 66"/>
                    <a:gd name="T21" fmla="*/ 15 h 59"/>
                    <a:gd name="T22" fmla="*/ 63 w 66"/>
                    <a:gd name="T23" fmla="*/ 27 h 59"/>
                    <a:gd name="T24" fmla="*/ 63 w 66"/>
                    <a:gd name="T25" fmla="*/ 27 h 59"/>
                    <a:gd name="T26" fmla="*/ 42 w 66"/>
                    <a:gd name="T27" fmla="*/ 57 h 59"/>
                    <a:gd name="T28" fmla="*/ 42 w 66"/>
                    <a:gd name="T29" fmla="*/ 57 h 59"/>
                    <a:gd name="T30" fmla="*/ 42 w 66"/>
                    <a:gd name="T31" fmla="*/ 57 h 59"/>
                    <a:gd name="T32" fmla="*/ 39 w 66"/>
                    <a:gd name="T33" fmla="*/ 57 h 59"/>
                    <a:gd name="T34" fmla="*/ 39 w 66"/>
                    <a:gd name="T35" fmla="*/ 57 h 59"/>
                    <a:gd name="T36" fmla="*/ 39 w 66"/>
                    <a:gd name="T37" fmla="*/ 57 h 59"/>
                    <a:gd name="T38" fmla="*/ 32 w 66"/>
                    <a:gd name="T39" fmla="*/ 56 h 59"/>
                    <a:gd name="T40" fmla="*/ 32 w 66"/>
                    <a:gd name="T41" fmla="*/ 56 h 59"/>
                    <a:gd name="T42" fmla="*/ 30 w 66"/>
                    <a:gd name="T43" fmla="*/ 55 h 59"/>
                    <a:gd name="T44" fmla="*/ 29 w 66"/>
                    <a:gd name="T45" fmla="*/ 55 h 59"/>
                    <a:gd name="T46" fmla="*/ 26 w 66"/>
                    <a:gd name="T47" fmla="*/ 54 h 59"/>
                    <a:gd name="T48" fmla="*/ 26 w 66"/>
                    <a:gd name="T49" fmla="*/ 54 h 59"/>
                    <a:gd name="T50" fmla="*/ 26 w 66"/>
                    <a:gd name="T51" fmla="*/ 54 h 59"/>
                    <a:gd name="T52" fmla="*/ 7 w 66"/>
                    <a:gd name="T53" fmla="*/ 42 h 59"/>
                    <a:gd name="T54" fmla="*/ 6 w 66"/>
                    <a:gd name="T55" fmla="*/ 20 h 59"/>
                    <a:gd name="T56" fmla="*/ 8 w 66"/>
                    <a:gd name="T57" fmla="*/ 11 h 59"/>
                    <a:gd name="T58" fmla="*/ 11 w 66"/>
                    <a:gd name="T59" fmla="*/ 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6" h="59">
                      <a:moveTo>
                        <a:pt x="11" y="0"/>
                      </a:moveTo>
                      <a:cubicBezTo>
                        <a:pt x="10" y="1"/>
                        <a:pt x="9" y="1"/>
                        <a:pt x="8" y="2"/>
                      </a:cubicBezTo>
                      <a:cubicBezTo>
                        <a:pt x="7" y="7"/>
                        <a:pt x="6" y="13"/>
                        <a:pt x="4" y="20"/>
                      </a:cubicBezTo>
                      <a:cubicBezTo>
                        <a:pt x="0" y="43"/>
                        <a:pt x="5" y="53"/>
                        <a:pt x="30" y="57"/>
                      </a:cubicBezTo>
                      <a:cubicBezTo>
                        <a:pt x="35" y="58"/>
                        <a:pt x="39" y="59"/>
                        <a:pt x="42" y="59"/>
                      </a:cubicBezTo>
                      <a:cubicBezTo>
                        <a:pt x="43" y="59"/>
                        <a:pt x="43" y="59"/>
                        <a:pt x="43" y="59"/>
                      </a:cubicBezTo>
                      <a:cubicBezTo>
                        <a:pt x="57" y="58"/>
                        <a:pt x="61" y="50"/>
                        <a:pt x="65" y="27"/>
                      </a:cubicBezTo>
                      <a:cubicBezTo>
                        <a:pt x="66" y="22"/>
                        <a:pt x="66" y="17"/>
                        <a:pt x="66" y="13"/>
                      </a:cubicBezTo>
                      <a:cubicBezTo>
                        <a:pt x="66" y="12"/>
                        <a:pt x="65" y="11"/>
                        <a:pt x="64" y="9"/>
                      </a:cubicBezTo>
                      <a:cubicBezTo>
                        <a:pt x="64" y="11"/>
                        <a:pt x="65" y="13"/>
                        <a:pt x="65" y="14"/>
                      </a:cubicBezTo>
                      <a:cubicBezTo>
                        <a:pt x="65" y="15"/>
                        <a:pt x="65" y="15"/>
                        <a:pt x="65" y="15"/>
                      </a:cubicBezTo>
                      <a:cubicBezTo>
                        <a:pt x="65" y="18"/>
                        <a:pt x="64" y="22"/>
                        <a:pt x="63" y="2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59" y="49"/>
                        <a:pt x="56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1" y="57"/>
                        <a:pt x="40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7" y="56"/>
                        <a:pt x="35" y="56"/>
                        <a:pt x="32" y="56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1" y="56"/>
                        <a:pt x="31" y="55"/>
                        <a:pt x="30" y="55"/>
                      </a:cubicBezTo>
                      <a:cubicBezTo>
                        <a:pt x="30" y="55"/>
                        <a:pt x="30" y="55"/>
                        <a:pt x="29" y="55"/>
                      </a:cubicBezTo>
                      <a:cubicBezTo>
                        <a:pt x="28" y="55"/>
                        <a:pt x="27" y="55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15" y="52"/>
                        <a:pt x="9" y="48"/>
                        <a:pt x="7" y="42"/>
                      </a:cubicBezTo>
                      <a:cubicBezTo>
                        <a:pt x="4" y="37"/>
                        <a:pt x="4" y="29"/>
                        <a:pt x="6" y="20"/>
                      </a:cubicBezTo>
                      <a:cubicBezTo>
                        <a:pt x="6" y="17"/>
                        <a:pt x="7" y="14"/>
                        <a:pt x="8" y="11"/>
                      </a:cubicBezTo>
                      <a:cubicBezTo>
                        <a:pt x="9" y="7"/>
                        <a:pt x="10" y="3"/>
                        <a:pt x="11" y="0"/>
                      </a:cubicBezTo>
                    </a:path>
                  </a:pathLst>
                </a:custGeom>
                <a:solidFill>
                  <a:srgbClr val="B477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2" name="Freeform 78"/>
                <p:cNvSpPr>
                  <a:spLocks noEditPoints="1"/>
                </p:cNvSpPr>
                <p:nvPr/>
              </p:nvSpPr>
              <p:spPr bwMode="auto">
                <a:xfrm>
                  <a:off x="2192338" y="2555876"/>
                  <a:ext cx="282575" cy="276225"/>
                </a:xfrm>
                <a:custGeom>
                  <a:avLst/>
                  <a:gdLst>
                    <a:gd name="T0" fmla="*/ 32 w 58"/>
                    <a:gd name="T1" fmla="*/ 57 h 57"/>
                    <a:gd name="T2" fmla="*/ 32 w 58"/>
                    <a:gd name="T3" fmla="*/ 57 h 57"/>
                    <a:gd name="T4" fmla="*/ 35 w 58"/>
                    <a:gd name="T5" fmla="*/ 57 h 57"/>
                    <a:gd name="T6" fmla="*/ 35 w 58"/>
                    <a:gd name="T7" fmla="*/ 57 h 57"/>
                    <a:gd name="T8" fmla="*/ 32 w 58"/>
                    <a:gd name="T9" fmla="*/ 57 h 57"/>
                    <a:gd name="T10" fmla="*/ 25 w 58"/>
                    <a:gd name="T11" fmla="*/ 56 h 57"/>
                    <a:gd name="T12" fmla="*/ 32 w 58"/>
                    <a:gd name="T13" fmla="*/ 57 h 57"/>
                    <a:gd name="T14" fmla="*/ 32 w 58"/>
                    <a:gd name="T15" fmla="*/ 57 h 57"/>
                    <a:gd name="T16" fmla="*/ 25 w 58"/>
                    <a:gd name="T17" fmla="*/ 56 h 57"/>
                    <a:gd name="T18" fmla="*/ 25 w 58"/>
                    <a:gd name="T19" fmla="*/ 56 h 57"/>
                    <a:gd name="T20" fmla="*/ 25 w 58"/>
                    <a:gd name="T21" fmla="*/ 56 h 57"/>
                    <a:gd name="T22" fmla="*/ 25 w 58"/>
                    <a:gd name="T23" fmla="*/ 56 h 57"/>
                    <a:gd name="T24" fmla="*/ 25 w 58"/>
                    <a:gd name="T25" fmla="*/ 56 h 57"/>
                    <a:gd name="T26" fmla="*/ 25 w 58"/>
                    <a:gd name="T27" fmla="*/ 56 h 57"/>
                    <a:gd name="T28" fmla="*/ 25 w 58"/>
                    <a:gd name="T29" fmla="*/ 56 h 57"/>
                    <a:gd name="T30" fmla="*/ 19 w 58"/>
                    <a:gd name="T31" fmla="*/ 54 h 57"/>
                    <a:gd name="T32" fmla="*/ 19 w 58"/>
                    <a:gd name="T33" fmla="*/ 54 h 57"/>
                    <a:gd name="T34" fmla="*/ 19 w 58"/>
                    <a:gd name="T35" fmla="*/ 54 h 57"/>
                    <a:gd name="T36" fmla="*/ 0 w 58"/>
                    <a:gd name="T37" fmla="*/ 42 h 57"/>
                    <a:gd name="T38" fmla="*/ 19 w 58"/>
                    <a:gd name="T39" fmla="*/ 54 h 57"/>
                    <a:gd name="T40" fmla="*/ 18 w 58"/>
                    <a:gd name="T41" fmla="*/ 54 h 57"/>
                    <a:gd name="T42" fmla="*/ 0 w 58"/>
                    <a:gd name="T43" fmla="*/ 42 h 57"/>
                    <a:gd name="T44" fmla="*/ 57 w 58"/>
                    <a:gd name="T45" fmla="*/ 9 h 57"/>
                    <a:gd name="T46" fmla="*/ 56 w 58"/>
                    <a:gd name="T47" fmla="*/ 27 h 57"/>
                    <a:gd name="T48" fmla="*/ 56 w 58"/>
                    <a:gd name="T49" fmla="*/ 27 h 57"/>
                    <a:gd name="T50" fmla="*/ 56 w 58"/>
                    <a:gd name="T51" fmla="*/ 27 h 57"/>
                    <a:gd name="T52" fmla="*/ 58 w 58"/>
                    <a:gd name="T53" fmla="*/ 15 h 57"/>
                    <a:gd name="T54" fmla="*/ 58 w 58"/>
                    <a:gd name="T55" fmla="*/ 14 h 57"/>
                    <a:gd name="T56" fmla="*/ 57 w 58"/>
                    <a:gd name="T57" fmla="*/ 9 h 57"/>
                    <a:gd name="T58" fmla="*/ 57 w 58"/>
                    <a:gd name="T59" fmla="*/ 9 h 57"/>
                    <a:gd name="T60" fmla="*/ 4 w 58"/>
                    <a:gd name="T61" fmla="*/ 0 h 57"/>
                    <a:gd name="T62" fmla="*/ 4 w 58"/>
                    <a:gd name="T63" fmla="*/ 0 h 57"/>
                    <a:gd name="T64" fmla="*/ 4 w 58"/>
                    <a:gd name="T65" fmla="*/ 0 h 57"/>
                    <a:gd name="T66" fmla="*/ 1 w 58"/>
                    <a:gd name="T67" fmla="*/ 11 h 57"/>
                    <a:gd name="T68" fmla="*/ 4 w 58"/>
                    <a:gd name="T69" fmla="*/ 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8" h="57">
                      <a:moveTo>
                        <a:pt x="32" y="57"/>
                      </a:move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3" y="57"/>
                        <a:pt x="34" y="57"/>
                        <a:pt x="35" y="57"/>
                      </a:cubicBezTo>
                      <a:cubicBezTo>
                        <a:pt x="35" y="57"/>
                        <a:pt x="35" y="57"/>
                        <a:pt x="35" y="57"/>
                      </a:cubicBezTo>
                      <a:cubicBezTo>
                        <a:pt x="34" y="57"/>
                        <a:pt x="33" y="57"/>
                        <a:pt x="32" y="57"/>
                      </a:cubicBezTo>
                      <a:moveTo>
                        <a:pt x="25" y="56"/>
                      </a:moveTo>
                      <a:cubicBezTo>
                        <a:pt x="28" y="56"/>
                        <a:pt x="30" y="56"/>
                        <a:pt x="32" y="57"/>
                      </a:cubicBez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0" y="56"/>
                        <a:pt x="28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moveTo>
                        <a:pt x="19" y="54"/>
                      </a:moveTo>
                      <a:cubicBezTo>
                        <a:pt x="19" y="54"/>
                        <a:pt x="19" y="54"/>
                        <a:pt x="19" y="54"/>
                      </a:cubicBezTo>
                      <a:cubicBezTo>
                        <a:pt x="19" y="54"/>
                        <a:pt x="19" y="54"/>
                        <a:pt x="19" y="54"/>
                      </a:cubicBezTo>
                      <a:moveTo>
                        <a:pt x="0" y="42"/>
                      </a:moveTo>
                      <a:cubicBezTo>
                        <a:pt x="2" y="48"/>
                        <a:pt x="8" y="52"/>
                        <a:pt x="19" y="54"/>
                      </a:cubicBezTo>
                      <a:cubicBezTo>
                        <a:pt x="18" y="54"/>
                        <a:pt x="18" y="54"/>
                        <a:pt x="18" y="54"/>
                      </a:cubicBezTo>
                      <a:cubicBezTo>
                        <a:pt x="8" y="52"/>
                        <a:pt x="2" y="48"/>
                        <a:pt x="0" y="42"/>
                      </a:cubicBezTo>
                      <a:moveTo>
                        <a:pt x="57" y="9"/>
                      </a:moveTo>
                      <a:cubicBezTo>
                        <a:pt x="58" y="14"/>
                        <a:pt x="58" y="20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7" y="22"/>
                        <a:pt x="58" y="18"/>
                        <a:pt x="58" y="15"/>
                      </a:cubicBezTo>
                      <a:cubicBezTo>
                        <a:pt x="58" y="14"/>
                        <a:pt x="58" y="14"/>
                        <a:pt x="58" y="14"/>
                      </a:cubicBezTo>
                      <a:cubicBezTo>
                        <a:pt x="58" y="13"/>
                        <a:pt x="57" y="11"/>
                        <a:pt x="57" y="9"/>
                      </a:cubicBezTo>
                      <a:cubicBezTo>
                        <a:pt x="57" y="9"/>
                        <a:pt x="57" y="9"/>
                        <a:pt x="57" y="9"/>
                      </a:cubicBezTo>
                      <a:moveTo>
                        <a:pt x="4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"/>
                        <a:pt x="2" y="7"/>
                        <a:pt x="1" y="11"/>
                      </a:cubicBezTo>
                      <a:cubicBezTo>
                        <a:pt x="2" y="7"/>
                        <a:pt x="3" y="3"/>
                        <a:pt x="4" y="0"/>
                      </a:cubicBezTo>
                    </a:path>
                  </a:pathLst>
                </a:custGeom>
                <a:solidFill>
                  <a:srgbClr val="BD8B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3" name="Freeform 79"/>
                <p:cNvSpPr>
                  <a:spLocks/>
                </p:cNvSpPr>
                <p:nvPr/>
              </p:nvSpPr>
              <p:spPr bwMode="auto">
                <a:xfrm>
                  <a:off x="1870076" y="3154363"/>
                  <a:ext cx="536575" cy="730250"/>
                </a:xfrm>
                <a:custGeom>
                  <a:avLst/>
                  <a:gdLst>
                    <a:gd name="T0" fmla="*/ 45 w 110"/>
                    <a:gd name="T1" fmla="*/ 0 h 150"/>
                    <a:gd name="T2" fmla="*/ 39 w 110"/>
                    <a:gd name="T3" fmla="*/ 14 h 150"/>
                    <a:gd name="T4" fmla="*/ 10 w 110"/>
                    <a:gd name="T5" fmla="*/ 113 h 150"/>
                    <a:gd name="T6" fmla="*/ 0 w 110"/>
                    <a:gd name="T7" fmla="*/ 139 h 150"/>
                    <a:gd name="T8" fmla="*/ 0 w 110"/>
                    <a:gd name="T9" fmla="*/ 139 h 150"/>
                    <a:gd name="T10" fmla="*/ 8 w 110"/>
                    <a:gd name="T11" fmla="*/ 150 h 150"/>
                    <a:gd name="T12" fmla="*/ 20 w 110"/>
                    <a:gd name="T13" fmla="*/ 144 h 150"/>
                    <a:gd name="T14" fmla="*/ 55 w 110"/>
                    <a:gd name="T15" fmla="*/ 108 h 150"/>
                    <a:gd name="T16" fmla="*/ 69 w 110"/>
                    <a:gd name="T17" fmla="*/ 111 h 150"/>
                    <a:gd name="T18" fmla="*/ 94 w 110"/>
                    <a:gd name="T19" fmla="*/ 118 h 150"/>
                    <a:gd name="T20" fmla="*/ 101 w 110"/>
                    <a:gd name="T21" fmla="*/ 101 h 150"/>
                    <a:gd name="T22" fmla="*/ 108 w 110"/>
                    <a:gd name="T23" fmla="*/ 17 h 150"/>
                    <a:gd name="T24" fmla="*/ 110 w 110"/>
                    <a:gd name="T25" fmla="*/ 11 h 150"/>
                    <a:gd name="T26" fmla="*/ 110 w 110"/>
                    <a:gd name="T27" fmla="*/ 11 h 150"/>
                    <a:gd name="T28" fmla="*/ 106 w 110"/>
                    <a:gd name="T29" fmla="*/ 8 h 150"/>
                    <a:gd name="T30" fmla="*/ 74 w 110"/>
                    <a:gd name="T31" fmla="*/ 12 h 150"/>
                    <a:gd name="T32" fmla="*/ 45 w 110"/>
                    <a:gd name="T33" fmla="*/ 0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0" h="150">
                      <a:moveTo>
                        <a:pt x="45" y="0"/>
                      </a:moveTo>
                      <a:cubicBezTo>
                        <a:pt x="42" y="0"/>
                        <a:pt x="40" y="3"/>
                        <a:pt x="39" y="14"/>
                      </a:cubicBezTo>
                      <a:cubicBezTo>
                        <a:pt x="36" y="45"/>
                        <a:pt x="30" y="79"/>
                        <a:pt x="10" y="113"/>
                      </a:cubicBezTo>
                      <a:cubicBezTo>
                        <a:pt x="3" y="124"/>
                        <a:pt x="0" y="133"/>
                        <a:pt x="0" y="139"/>
                      </a:cubicBezTo>
                      <a:cubicBezTo>
                        <a:pt x="0" y="139"/>
                        <a:pt x="0" y="139"/>
                        <a:pt x="0" y="139"/>
                      </a:cubicBezTo>
                      <a:cubicBezTo>
                        <a:pt x="0" y="146"/>
                        <a:pt x="3" y="150"/>
                        <a:pt x="8" y="150"/>
                      </a:cubicBezTo>
                      <a:cubicBezTo>
                        <a:pt x="11" y="150"/>
                        <a:pt x="16" y="148"/>
                        <a:pt x="20" y="144"/>
                      </a:cubicBezTo>
                      <a:cubicBezTo>
                        <a:pt x="32" y="131"/>
                        <a:pt x="35" y="108"/>
                        <a:pt x="55" y="108"/>
                      </a:cubicBezTo>
                      <a:cubicBezTo>
                        <a:pt x="58" y="108"/>
                        <a:pt x="63" y="109"/>
                        <a:pt x="69" y="111"/>
                      </a:cubicBezTo>
                      <a:cubicBezTo>
                        <a:pt x="81" y="116"/>
                        <a:pt x="89" y="118"/>
                        <a:pt x="94" y="118"/>
                      </a:cubicBezTo>
                      <a:cubicBezTo>
                        <a:pt x="103" y="118"/>
                        <a:pt x="104" y="112"/>
                        <a:pt x="101" y="101"/>
                      </a:cubicBezTo>
                      <a:cubicBezTo>
                        <a:pt x="97" y="83"/>
                        <a:pt x="100" y="35"/>
                        <a:pt x="108" y="17"/>
                      </a:cubicBezTo>
                      <a:cubicBezTo>
                        <a:pt x="110" y="14"/>
                        <a:pt x="110" y="13"/>
                        <a:pt x="110" y="11"/>
                      </a:cubicBezTo>
                      <a:cubicBezTo>
                        <a:pt x="110" y="11"/>
                        <a:pt x="110" y="11"/>
                        <a:pt x="110" y="11"/>
                      </a:cubicBezTo>
                      <a:cubicBezTo>
                        <a:pt x="110" y="9"/>
                        <a:pt x="109" y="8"/>
                        <a:pt x="106" y="8"/>
                      </a:cubicBezTo>
                      <a:cubicBezTo>
                        <a:pt x="99" y="8"/>
                        <a:pt x="87" y="12"/>
                        <a:pt x="74" y="12"/>
                      </a:cubicBezTo>
                      <a:cubicBezTo>
                        <a:pt x="61" y="12"/>
                        <a:pt x="51" y="0"/>
                        <a:pt x="45" y="0"/>
                      </a:cubicBezTo>
                    </a:path>
                  </a:pathLst>
                </a:custGeom>
                <a:solidFill>
                  <a:srgbClr val="DBAB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4" name="Freeform 80"/>
                <p:cNvSpPr>
                  <a:spLocks/>
                </p:cNvSpPr>
                <p:nvPr/>
              </p:nvSpPr>
              <p:spPr bwMode="auto">
                <a:xfrm>
                  <a:off x="1874838" y="4546601"/>
                  <a:ext cx="584200" cy="1465263"/>
                </a:xfrm>
                <a:custGeom>
                  <a:avLst/>
                  <a:gdLst>
                    <a:gd name="T0" fmla="*/ 120 w 120"/>
                    <a:gd name="T1" fmla="*/ 0 h 301"/>
                    <a:gd name="T2" fmla="*/ 120 w 120"/>
                    <a:gd name="T3" fmla="*/ 0 h 301"/>
                    <a:gd name="T4" fmla="*/ 69 w 120"/>
                    <a:gd name="T5" fmla="*/ 86 h 301"/>
                    <a:gd name="T6" fmla="*/ 1 w 120"/>
                    <a:gd name="T7" fmla="*/ 275 h 301"/>
                    <a:gd name="T8" fmla="*/ 0 w 120"/>
                    <a:gd name="T9" fmla="*/ 301 h 301"/>
                    <a:gd name="T10" fmla="*/ 31 w 120"/>
                    <a:gd name="T11" fmla="*/ 301 h 301"/>
                    <a:gd name="T12" fmla="*/ 62 w 120"/>
                    <a:gd name="T13" fmla="*/ 169 h 301"/>
                    <a:gd name="T14" fmla="*/ 119 w 120"/>
                    <a:gd name="T15" fmla="*/ 3 h 301"/>
                    <a:gd name="T16" fmla="*/ 120 w 120"/>
                    <a:gd name="T17" fmla="*/ 1 h 301"/>
                    <a:gd name="T18" fmla="*/ 120 w 120"/>
                    <a:gd name="T19" fmla="*/ 0 h 301"/>
                    <a:gd name="T20" fmla="*/ 120 w 120"/>
                    <a:gd name="T21" fmla="*/ 0 h 3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0" h="301">
                      <a:moveTo>
                        <a:pt x="120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18" y="1"/>
                        <a:pt x="92" y="51"/>
                        <a:pt x="69" y="86"/>
                      </a:cubicBezTo>
                      <a:cubicBezTo>
                        <a:pt x="43" y="126"/>
                        <a:pt x="9" y="188"/>
                        <a:pt x="1" y="275"/>
                      </a:cubicBezTo>
                      <a:cubicBezTo>
                        <a:pt x="1" y="283"/>
                        <a:pt x="0" y="292"/>
                        <a:pt x="0" y="301"/>
                      </a:cubicBezTo>
                      <a:cubicBezTo>
                        <a:pt x="31" y="301"/>
                        <a:pt x="31" y="301"/>
                        <a:pt x="31" y="301"/>
                      </a:cubicBezTo>
                      <a:cubicBezTo>
                        <a:pt x="38" y="229"/>
                        <a:pt x="52" y="204"/>
                        <a:pt x="62" y="169"/>
                      </a:cubicBezTo>
                      <a:cubicBezTo>
                        <a:pt x="73" y="124"/>
                        <a:pt x="116" y="30"/>
                        <a:pt x="119" y="3"/>
                      </a:cubicBezTo>
                      <a:cubicBezTo>
                        <a:pt x="120" y="2"/>
                        <a:pt x="120" y="1"/>
                        <a:pt x="120" y="1"/>
                      </a:cubicBez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0"/>
                        <a:pt x="120" y="0"/>
                        <a:pt x="120" y="0"/>
                      </a:cubicBezTo>
                    </a:path>
                  </a:pathLst>
                </a:custGeom>
                <a:solidFill>
                  <a:srgbClr val="E0B2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5" name="Freeform 8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1 w 3"/>
                    <a:gd name="T3" fmla="*/ 0 h 1"/>
                    <a:gd name="T4" fmla="*/ 3 w 3"/>
                    <a:gd name="T5" fmla="*/ 1 h 1"/>
                    <a:gd name="T6" fmla="*/ 1 w 3"/>
                    <a:gd name="T7" fmla="*/ 0 h 1"/>
                    <a:gd name="T8" fmla="*/ 1 w 3"/>
                    <a:gd name="T9" fmla="*/ 0 h 1"/>
                    <a:gd name="T10" fmla="*/ 1 w 3"/>
                    <a:gd name="T11" fmla="*/ 0 h 1"/>
                    <a:gd name="T12" fmla="*/ 1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6" name="Freeform 82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3 w 3"/>
                    <a:gd name="T3" fmla="*/ 3 w 3"/>
                    <a:gd name="T4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7" name="Freeform 83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9525" cy="0"/>
                </a:xfrm>
                <a:custGeom>
                  <a:avLst/>
                  <a:gdLst>
                    <a:gd name="T0" fmla="*/ 1 w 2"/>
                    <a:gd name="T1" fmla="*/ 2 w 2"/>
                    <a:gd name="T2" fmla="*/ 2 w 2"/>
                    <a:gd name="T3" fmla="*/ 1 w 2"/>
                    <a:gd name="T4" fmla="*/ 0 w 2"/>
                    <a:gd name="T5" fmla="*/ 1 w 2"/>
                    <a:gd name="T6" fmla="*/ 0 w 2"/>
                    <a:gd name="T7" fmla="*/ 0 w 2"/>
                    <a:gd name="T8" fmla="*/ 0 w 2"/>
                    <a:gd name="T9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2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8" name="Freeform 84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  <a:gd name="T3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9" name="Freeform 8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0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0" name="Freeform 8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0 w 3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1" name="Freeform 87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2" name="Freeform 8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3" name="Freeform 89"/>
                <p:cNvSpPr>
                  <a:spLocks/>
                </p:cNvSpPr>
                <p:nvPr/>
              </p:nvSpPr>
              <p:spPr bwMode="auto">
                <a:xfrm>
                  <a:off x="2303463" y="2822576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2 w 2"/>
                    <a:gd name="T5" fmla="*/ 1 h 1"/>
                    <a:gd name="T6" fmla="*/ 1 w 2"/>
                    <a:gd name="T7" fmla="*/ 0 h 1"/>
                    <a:gd name="T8" fmla="*/ 0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4" name="Freeform 90"/>
                <p:cNvSpPr>
                  <a:spLocks noEditPoints="1"/>
                </p:cNvSpPr>
                <p:nvPr/>
              </p:nvSpPr>
              <p:spPr bwMode="auto">
                <a:xfrm>
                  <a:off x="2303463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  <a:gd name="T4" fmla="*/ 0 w 1"/>
                    <a:gd name="T5" fmla="*/ 0 w 1"/>
                    <a:gd name="T6" fmla="*/ 0 w 1"/>
                    <a:gd name="T7" fmla="*/ 0 w 1"/>
                    <a:gd name="T8" fmla="*/ 0 w 1"/>
                    <a:gd name="T9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5" name="Freeform 91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6" name="Freeform 92"/>
                <p:cNvSpPr>
                  <a:spLocks/>
                </p:cNvSpPr>
                <p:nvPr/>
              </p:nvSpPr>
              <p:spPr bwMode="auto">
                <a:xfrm>
                  <a:off x="2328863" y="2827338"/>
                  <a:ext cx="4763" cy="0"/>
                </a:xfrm>
                <a:custGeom>
                  <a:avLst/>
                  <a:gdLst>
                    <a:gd name="T0" fmla="*/ 0 w 1"/>
                    <a:gd name="T1" fmla="*/ 1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7" name="Freeform 93"/>
                <p:cNvSpPr>
                  <a:spLocks noEditPoints="1"/>
                </p:cNvSpPr>
                <p:nvPr/>
              </p:nvSpPr>
              <p:spPr bwMode="auto">
                <a:xfrm>
                  <a:off x="2338388" y="2497138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  <a:gd name="T5" fmla="*/ 0 h 1"/>
                    <a:gd name="T6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8" name="Freeform 94"/>
                <p:cNvSpPr>
                  <a:spLocks/>
                </p:cNvSpPr>
                <p:nvPr/>
              </p:nvSpPr>
              <p:spPr bwMode="auto">
                <a:xfrm>
                  <a:off x="2303463" y="2497138"/>
                  <a:ext cx="34925" cy="19050"/>
                </a:xfrm>
                <a:custGeom>
                  <a:avLst/>
                  <a:gdLst>
                    <a:gd name="T0" fmla="*/ 1 w 7"/>
                    <a:gd name="T1" fmla="*/ 0 h 4"/>
                    <a:gd name="T2" fmla="*/ 0 w 7"/>
                    <a:gd name="T3" fmla="*/ 0 h 4"/>
                    <a:gd name="T4" fmla="*/ 0 w 7"/>
                    <a:gd name="T5" fmla="*/ 4 h 4"/>
                    <a:gd name="T6" fmla="*/ 3 w 7"/>
                    <a:gd name="T7" fmla="*/ 4 h 4"/>
                    <a:gd name="T8" fmla="*/ 3 w 7"/>
                    <a:gd name="T9" fmla="*/ 0 h 4"/>
                    <a:gd name="T10" fmla="*/ 6 w 7"/>
                    <a:gd name="T11" fmla="*/ 0 h 4"/>
                    <a:gd name="T12" fmla="*/ 6 w 7"/>
                    <a:gd name="T13" fmla="*/ 0 h 4"/>
                    <a:gd name="T14" fmla="*/ 7 w 7"/>
                    <a:gd name="T15" fmla="*/ 0 h 4"/>
                    <a:gd name="T16" fmla="*/ 7 w 7"/>
                    <a:gd name="T17" fmla="*/ 0 h 4"/>
                    <a:gd name="T18" fmla="*/ 7 w 7"/>
                    <a:gd name="T19" fmla="*/ 0 h 4"/>
                    <a:gd name="T20" fmla="*/ 7 w 7"/>
                    <a:gd name="T21" fmla="*/ 0 h 4"/>
                    <a:gd name="T22" fmla="*/ 7 w 7"/>
                    <a:gd name="T23" fmla="*/ 0 h 4"/>
                    <a:gd name="T24" fmla="*/ 1 w 7"/>
                    <a:gd name="T2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" h="4">
                      <a:moveTo>
                        <a:pt x="1" y="0"/>
                      </a:moveTo>
                      <a:cubicBezTo>
                        <a:pt x="1" y="0"/>
                        <a:pt x="1" y="0"/>
                        <a:pt x="0" y="0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1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4" y="0"/>
                        <a:pt x="5" y="0"/>
                        <a:pt x="6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5" y="0"/>
                        <a:pt x="3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9" name="Freeform 95"/>
                <p:cNvSpPr>
                  <a:spLocks/>
                </p:cNvSpPr>
                <p:nvPr/>
              </p:nvSpPr>
              <p:spPr bwMode="auto">
                <a:xfrm>
                  <a:off x="2265363" y="2516188"/>
                  <a:ext cx="52388" cy="306388"/>
                </a:xfrm>
                <a:custGeom>
                  <a:avLst/>
                  <a:gdLst>
                    <a:gd name="T0" fmla="*/ 11 w 11"/>
                    <a:gd name="T1" fmla="*/ 0 h 63"/>
                    <a:gd name="T2" fmla="*/ 8 w 11"/>
                    <a:gd name="T3" fmla="*/ 0 h 63"/>
                    <a:gd name="T4" fmla="*/ 0 w 11"/>
                    <a:gd name="T5" fmla="*/ 61 h 63"/>
                    <a:gd name="T6" fmla="*/ 3 w 11"/>
                    <a:gd name="T7" fmla="*/ 62 h 63"/>
                    <a:gd name="T8" fmla="*/ 6 w 11"/>
                    <a:gd name="T9" fmla="*/ 63 h 63"/>
                    <a:gd name="T10" fmla="*/ 3 w 11"/>
                    <a:gd name="T11" fmla="*/ 62 h 63"/>
                    <a:gd name="T12" fmla="*/ 11 w 11"/>
                    <a:gd name="T13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3">
                      <a:moveTo>
                        <a:pt x="11" y="0"/>
                      </a:moveTo>
                      <a:cubicBezTo>
                        <a:pt x="10" y="0"/>
                        <a:pt x="9" y="0"/>
                        <a:pt x="8" y="0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1" y="62"/>
                        <a:pt x="2" y="62"/>
                        <a:pt x="3" y="62"/>
                      </a:cubicBezTo>
                      <a:cubicBezTo>
                        <a:pt x="4" y="62"/>
                        <a:pt x="5" y="63"/>
                        <a:pt x="6" y="63"/>
                      </a:cubicBezTo>
                      <a:cubicBezTo>
                        <a:pt x="5" y="63"/>
                        <a:pt x="4" y="62"/>
                        <a:pt x="3" y="62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0" name="Freeform 96"/>
                <p:cNvSpPr>
                  <a:spLocks noEditPoints="1"/>
                </p:cNvSpPr>
                <p:nvPr/>
              </p:nvSpPr>
              <p:spPr bwMode="auto">
                <a:xfrm>
                  <a:off x="2284413" y="2817813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1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1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1" name="Freeform 97"/>
                <p:cNvSpPr>
                  <a:spLocks/>
                </p:cNvSpPr>
                <p:nvPr/>
              </p:nvSpPr>
              <p:spPr bwMode="auto">
                <a:xfrm>
                  <a:off x="2279651" y="2817813"/>
                  <a:ext cx="19050" cy="4763"/>
                </a:xfrm>
                <a:custGeom>
                  <a:avLst/>
                  <a:gdLst>
                    <a:gd name="T0" fmla="*/ 0 w 4"/>
                    <a:gd name="T1" fmla="*/ 0 h 1"/>
                    <a:gd name="T2" fmla="*/ 1 w 4"/>
                    <a:gd name="T3" fmla="*/ 0 h 1"/>
                    <a:gd name="T4" fmla="*/ 1 w 4"/>
                    <a:gd name="T5" fmla="*/ 0 h 1"/>
                    <a:gd name="T6" fmla="*/ 1 w 4"/>
                    <a:gd name="T7" fmla="*/ 0 h 1"/>
                    <a:gd name="T8" fmla="*/ 4 w 4"/>
                    <a:gd name="T9" fmla="*/ 1 h 1"/>
                    <a:gd name="T10" fmla="*/ 3 w 4"/>
                    <a:gd name="T11" fmla="*/ 1 h 1"/>
                    <a:gd name="T12" fmla="*/ 0 w 4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1"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1"/>
                        <a:pt x="3" y="1"/>
                        <a:pt x="4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2" name="Freeform 98"/>
                <p:cNvSpPr>
                  <a:spLocks/>
                </p:cNvSpPr>
                <p:nvPr/>
              </p:nvSpPr>
              <p:spPr bwMode="auto">
                <a:xfrm>
                  <a:off x="2371726" y="2506663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1 w 4"/>
                    <a:gd name="T3" fmla="*/ 0 h 4"/>
                    <a:gd name="T4" fmla="*/ 0 w 4"/>
                    <a:gd name="T5" fmla="*/ 3 h 4"/>
                    <a:gd name="T6" fmla="*/ 2 w 4"/>
                    <a:gd name="T7" fmla="*/ 3 h 4"/>
                    <a:gd name="T8" fmla="*/ 3 w 4"/>
                    <a:gd name="T9" fmla="*/ 4 h 4"/>
                    <a:gd name="T10" fmla="*/ 4 w 4"/>
                    <a:gd name="T11" fmla="*/ 1 h 4"/>
                    <a:gd name="T12" fmla="*/ 1 w 4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2" y="3"/>
                        <a:pt x="2" y="3"/>
                      </a:cubicBezTo>
                      <a:cubicBezTo>
                        <a:pt x="3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2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3" name="Freeform 99"/>
                <p:cNvSpPr>
                  <a:spLocks/>
                </p:cNvSpPr>
                <p:nvPr/>
              </p:nvSpPr>
              <p:spPr bwMode="auto">
                <a:xfrm>
                  <a:off x="2381251" y="2520951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1 w 1"/>
                    <a:gd name="T5" fmla="*/ 1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4919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4" name="Freeform 100"/>
                <p:cNvSpPr>
                  <a:spLocks/>
                </p:cNvSpPr>
                <p:nvPr/>
              </p:nvSpPr>
              <p:spPr bwMode="auto">
                <a:xfrm>
                  <a:off x="2333626" y="2520951"/>
                  <a:ext cx="52388" cy="311150"/>
                </a:xfrm>
                <a:custGeom>
                  <a:avLst/>
                  <a:gdLst>
                    <a:gd name="T0" fmla="*/ 8 w 11"/>
                    <a:gd name="T1" fmla="*/ 0 h 64"/>
                    <a:gd name="T2" fmla="*/ 0 w 11"/>
                    <a:gd name="T3" fmla="*/ 63 h 64"/>
                    <a:gd name="T4" fmla="*/ 3 w 11"/>
                    <a:gd name="T5" fmla="*/ 64 h 64"/>
                    <a:gd name="T6" fmla="*/ 3 w 11"/>
                    <a:gd name="T7" fmla="*/ 64 h 64"/>
                    <a:gd name="T8" fmla="*/ 11 w 11"/>
                    <a:gd name="T9" fmla="*/ 1 h 64"/>
                    <a:gd name="T10" fmla="*/ 10 w 11"/>
                    <a:gd name="T11" fmla="*/ 0 h 64"/>
                    <a:gd name="T12" fmla="*/ 8 w 11"/>
                    <a:gd name="T13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1" y="63"/>
                        <a:pt x="2" y="64"/>
                        <a:pt x="3" y="64"/>
                      </a:cubicBezTo>
                      <a:cubicBezTo>
                        <a:pt x="3" y="64"/>
                        <a:pt x="3" y="64"/>
                        <a:pt x="3" y="64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1" y="1"/>
                        <a:pt x="11" y="1"/>
                        <a:pt x="10" y="0"/>
                      </a:cubicBezTo>
                      <a:cubicBezTo>
                        <a:pt x="10" y="0"/>
                        <a:pt x="9" y="0"/>
                        <a:pt x="8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5" name="Freeform 101"/>
                <p:cNvSpPr>
                  <a:spLocks/>
                </p:cNvSpPr>
                <p:nvPr/>
              </p:nvSpPr>
              <p:spPr bwMode="auto">
                <a:xfrm>
                  <a:off x="2347913" y="28321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6" name="Oval 102"/>
                <p:cNvSpPr>
                  <a:spLocks noChangeArrowheads="1"/>
                </p:cNvSpPr>
                <p:nvPr/>
              </p:nvSpPr>
              <p:spPr bwMode="auto">
                <a:xfrm>
                  <a:off x="2347913" y="2832101"/>
                  <a:ext cx="1588" cy="1588"/>
                </a:xfrm>
                <a:prstGeom prst="ellipse">
                  <a:avLst/>
                </a:pr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7" name="Freeform 103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8" name="Freeform 104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9" name="Freeform 105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23813" cy="0"/>
                </a:xfrm>
                <a:custGeom>
                  <a:avLst/>
                  <a:gdLst>
                    <a:gd name="T0" fmla="*/ 5 w 5"/>
                    <a:gd name="T1" fmla="*/ 5 w 5"/>
                    <a:gd name="T2" fmla="*/ 5 w 5"/>
                    <a:gd name="T3" fmla="*/ 5 w 5"/>
                    <a:gd name="T4" fmla="*/ 5 w 5"/>
                    <a:gd name="T5" fmla="*/ 5 w 5"/>
                    <a:gd name="T6" fmla="*/ 1 w 5"/>
                    <a:gd name="T7" fmla="*/ 1 w 5"/>
                    <a:gd name="T8" fmla="*/ 1 w 5"/>
                    <a:gd name="T9" fmla="*/ 0 w 5"/>
                    <a:gd name="T10" fmla="*/ 0 w 5"/>
                    <a:gd name="T11" fmla="*/ 0 w 5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  <a:cxn ang="0">
                      <a:pos x="T10" y="0"/>
                    </a:cxn>
                    <a:cxn ang="0">
                      <a:pos x="T11" y="0"/>
                    </a:cxn>
                  </a:cxnLst>
                  <a:rect l="0" t="0" r="r" b="b"/>
                  <a:pathLst>
                    <a:path w="5">
                      <a:moveTo>
                        <a:pt x="5" y="0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0" name="Freeform 10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1" name="Freeform 107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15875" cy="0"/>
                </a:xfrm>
                <a:custGeom>
                  <a:avLst/>
                  <a:gdLst>
                    <a:gd name="T0" fmla="*/ 0 w 3"/>
                    <a:gd name="T1" fmla="*/ 0 w 3"/>
                    <a:gd name="T2" fmla="*/ 0 w 3"/>
                    <a:gd name="T3" fmla="*/ 0 w 3"/>
                    <a:gd name="T4" fmla="*/ 3 w 3"/>
                    <a:gd name="T5" fmla="*/ 0 w 3"/>
                    <a:gd name="T6" fmla="*/ 0 w 3"/>
                    <a:gd name="T7" fmla="*/ 0 w 3"/>
                    <a:gd name="T8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2" name="Freeform 10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3" name="Freeform 109"/>
                <p:cNvSpPr>
                  <a:spLocks/>
                </p:cNvSpPr>
                <p:nvPr/>
              </p:nvSpPr>
              <p:spPr bwMode="auto">
                <a:xfrm>
                  <a:off x="2317751" y="2497138"/>
                  <a:ext cx="15875" cy="19050"/>
                </a:xfrm>
                <a:custGeom>
                  <a:avLst/>
                  <a:gdLst>
                    <a:gd name="T0" fmla="*/ 0 w 3"/>
                    <a:gd name="T1" fmla="*/ 0 h 4"/>
                    <a:gd name="T2" fmla="*/ 0 w 3"/>
                    <a:gd name="T3" fmla="*/ 4 h 4"/>
                    <a:gd name="T4" fmla="*/ 1 w 3"/>
                    <a:gd name="T5" fmla="*/ 4 h 4"/>
                    <a:gd name="T6" fmla="*/ 3 w 3"/>
                    <a:gd name="T7" fmla="*/ 4 h 4"/>
                    <a:gd name="T8" fmla="*/ 3 w 3"/>
                    <a:gd name="T9" fmla="*/ 0 h 4"/>
                    <a:gd name="T10" fmla="*/ 0 w 3"/>
                    <a:gd name="T11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4"/>
                        <a:pt x="1" y="4"/>
                        <a:pt x="1" y="4"/>
                      </a:cubicBezTo>
                      <a:cubicBezTo>
                        <a:pt x="2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4" name="Freeform 110"/>
                <p:cNvSpPr>
                  <a:spLocks/>
                </p:cNvSpPr>
                <p:nvPr/>
              </p:nvSpPr>
              <p:spPr bwMode="auto">
                <a:xfrm>
                  <a:off x="2279651" y="2516188"/>
                  <a:ext cx="53975" cy="306388"/>
                </a:xfrm>
                <a:custGeom>
                  <a:avLst/>
                  <a:gdLst>
                    <a:gd name="T0" fmla="*/ 9 w 11"/>
                    <a:gd name="T1" fmla="*/ 0 h 63"/>
                    <a:gd name="T2" fmla="*/ 8 w 11"/>
                    <a:gd name="T3" fmla="*/ 0 h 63"/>
                    <a:gd name="T4" fmla="*/ 0 w 11"/>
                    <a:gd name="T5" fmla="*/ 62 h 63"/>
                    <a:gd name="T6" fmla="*/ 3 w 11"/>
                    <a:gd name="T7" fmla="*/ 63 h 63"/>
                    <a:gd name="T8" fmla="*/ 4 w 11"/>
                    <a:gd name="T9" fmla="*/ 63 h 63"/>
                    <a:gd name="T10" fmla="*/ 3 w 11"/>
                    <a:gd name="T11" fmla="*/ 63 h 63"/>
                    <a:gd name="T12" fmla="*/ 3 w 11"/>
                    <a:gd name="T13" fmla="*/ 63 h 63"/>
                    <a:gd name="T14" fmla="*/ 11 w 11"/>
                    <a:gd name="T15" fmla="*/ 0 h 63"/>
                    <a:gd name="T16" fmla="*/ 9 w 11"/>
                    <a:gd name="T17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63">
                      <a:moveTo>
                        <a:pt x="9" y="0"/>
                      </a:moveTo>
                      <a:cubicBezTo>
                        <a:pt x="9" y="0"/>
                        <a:pt x="8" y="0"/>
                        <a:pt x="8" y="0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1" y="62"/>
                        <a:pt x="2" y="63"/>
                        <a:pt x="3" y="63"/>
                      </a:cubicBezTo>
                      <a:cubicBezTo>
                        <a:pt x="3" y="63"/>
                        <a:pt x="3" y="63"/>
                        <a:pt x="4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5" name="Freeform 11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6" name="Oval 112"/>
                <p:cNvSpPr>
                  <a:spLocks noChangeArrowheads="1"/>
                </p:cNvSpPr>
                <p:nvPr/>
              </p:nvSpPr>
              <p:spPr bwMode="auto">
                <a:xfrm>
                  <a:off x="2293938" y="2822576"/>
                  <a:ext cx="4763" cy="1588"/>
                </a:xfrm>
                <a:prstGeom prst="ellipse">
                  <a:avLst/>
                </a:pr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7" name="Freeform 113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1 w 2"/>
                    <a:gd name="T3" fmla="*/ 1 h 1"/>
                    <a:gd name="T4" fmla="*/ 2 w 2"/>
                    <a:gd name="T5" fmla="*/ 1 h 1"/>
                    <a:gd name="T6" fmla="*/ 1 w 2"/>
                    <a:gd name="T7" fmla="*/ 1 h 1"/>
                    <a:gd name="T8" fmla="*/ 1 w 2"/>
                    <a:gd name="T9" fmla="*/ 1 h 1"/>
                    <a:gd name="T10" fmla="*/ 0 w 2"/>
                    <a:gd name="T11" fmla="*/ 1 h 1"/>
                    <a:gd name="T12" fmla="*/ 0 w 2"/>
                    <a:gd name="T13" fmla="*/ 1 h 1"/>
                    <a:gd name="T14" fmla="*/ 0 w 2"/>
                    <a:gd name="T15" fmla="*/ 1 h 1"/>
                    <a:gd name="T16" fmla="*/ 0 w 2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2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8" name="Freeform 114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0 w 1"/>
                    <a:gd name="T5" fmla="*/ 0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" y="1"/>
                        <a:pt x="0" y="1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9" name="Freeform 11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0" name="Freeform 116"/>
                <p:cNvSpPr>
                  <a:spLocks/>
                </p:cNvSpPr>
                <p:nvPr/>
              </p:nvSpPr>
              <p:spPr bwMode="auto">
                <a:xfrm>
                  <a:off x="2357438" y="2501901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0 w 4"/>
                    <a:gd name="T3" fmla="*/ 3 h 4"/>
                    <a:gd name="T4" fmla="*/ 1 w 4"/>
                    <a:gd name="T5" fmla="*/ 3 h 4"/>
                    <a:gd name="T6" fmla="*/ 3 w 4"/>
                    <a:gd name="T7" fmla="*/ 4 h 4"/>
                    <a:gd name="T8" fmla="*/ 4 w 4"/>
                    <a:gd name="T9" fmla="*/ 1 h 4"/>
                    <a:gd name="T10" fmla="*/ 4 w 4"/>
                    <a:gd name="T11" fmla="*/ 1 h 4"/>
                    <a:gd name="T12" fmla="*/ 1 w 4"/>
                    <a:gd name="T13" fmla="*/ 0 h 4"/>
                    <a:gd name="T14" fmla="*/ 1 w 4"/>
                    <a:gd name="T15" fmla="*/ 0 h 4"/>
                    <a:gd name="T16" fmla="*/ 1 w 4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2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1" name="Freeform 117"/>
                <p:cNvSpPr>
                  <a:spLocks/>
                </p:cNvSpPr>
                <p:nvPr/>
              </p:nvSpPr>
              <p:spPr bwMode="auto">
                <a:xfrm>
                  <a:off x="2312988" y="2516188"/>
                  <a:ext cx="58738" cy="311150"/>
                </a:xfrm>
                <a:custGeom>
                  <a:avLst/>
                  <a:gdLst>
                    <a:gd name="T0" fmla="*/ 9 w 12"/>
                    <a:gd name="T1" fmla="*/ 0 h 64"/>
                    <a:gd name="T2" fmla="*/ 1 w 12"/>
                    <a:gd name="T3" fmla="*/ 64 h 64"/>
                    <a:gd name="T4" fmla="*/ 0 w 12"/>
                    <a:gd name="T5" fmla="*/ 64 h 64"/>
                    <a:gd name="T6" fmla="*/ 0 w 12"/>
                    <a:gd name="T7" fmla="*/ 64 h 64"/>
                    <a:gd name="T8" fmla="*/ 0 w 12"/>
                    <a:gd name="T9" fmla="*/ 64 h 64"/>
                    <a:gd name="T10" fmla="*/ 0 w 12"/>
                    <a:gd name="T11" fmla="*/ 64 h 64"/>
                    <a:gd name="T12" fmla="*/ 3 w 12"/>
                    <a:gd name="T13" fmla="*/ 64 h 64"/>
                    <a:gd name="T14" fmla="*/ 4 w 12"/>
                    <a:gd name="T15" fmla="*/ 64 h 64"/>
                    <a:gd name="T16" fmla="*/ 12 w 12"/>
                    <a:gd name="T17" fmla="*/ 1 h 64"/>
                    <a:gd name="T18" fmla="*/ 10 w 12"/>
                    <a:gd name="T19" fmla="*/ 0 h 64"/>
                    <a:gd name="T20" fmla="*/ 9 w 12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" h="64">
                      <a:moveTo>
                        <a:pt x="9" y="0"/>
                      </a:moveTo>
                      <a:cubicBezTo>
                        <a:pt x="1" y="64"/>
                        <a:pt x="1" y="64"/>
                        <a:pt x="1" y="64"/>
                      </a:cubicBezTo>
                      <a:cubicBezTo>
                        <a:pt x="1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1" y="64"/>
                        <a:pt x="2" y="64"/>
                        <a:pt x="3" y="64"/>
                      </a:cubicBezTo>
                      <a:cubicBezTo>
                        <a:pt x="4" y="64"/>
                        <a:pt x="4" y="64"/>
                        <a:pt x="4" y="64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1"/>
                        <a:pt x="11" y="0"/>
                        <a:pt x="10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2" name="Freeform 11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3" name="Freeform 119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4" name="Freeform 120"/>
                <p:cNvSpPr>
                  <a:spLocks/>
                </p:cNvSpPr>
                <p:nvPr/>
              </p:nvSpPr>
              <p:spPr bwMode="auto">
                <a:xfrm>
                  <a:off x="2343151" y="2501901"/>
                  <a:ext cx="19050" cy="0"/>
                </a:xfrm>
                <a:custGeom>
                  <a:avLst/>
                  <a:gdLst>
                    <a:gd name="T0" fmla="*/ 0 w 4"/>
                    <a:gd name="T1" fmla="*/ 4 w 4"/>
                    <a:gd name="T2" fmla="*/ 4 w 4"/>
                    <a:gd name="T3" fmla="*/ 4 w 4"/>
                    <a:gd name="T4" fmla="*/ 1 w 4"/>
                    <a:gd name="T5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cubicBezTo>
                        <a:pt x="1" y="0"/>
                        <a:pt x="2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0"/>
                        <a:pt x="2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9693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5" name="Freeform 121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28575" cy="19050"/>
                </a:xfrm>
                <a:custGeom>
                  <a:avLst/>
                  <a:gdLst>
                    <a:gd name="T0" fmla="*/ 0 w 6"/>
                    <a:gd name="T1" fmla="*/ 0 h 4"/>
                    <a:gd name="T2" fmla="*/ 0 w 6"/>
                    <a:gd name="T3" fmla="*/ 4 h 4"/>
                    <a:gd name="T4" fmla="*/ 5 w 6"/>
                    <a:gd name="T5" fmla="*/ 4 h 4"/>
                    <a:gd name="T6" fmla="*/ 6 w 6"/>
                    <a:gd name="T7" fmla="*/ 1 h 4"/>
                    <a:gd name="T8" fmla="*/ 2 w 6"/>
                    <a:gd name="T9" fmla="*/ 1 h 4"/>
                    <a:gd name="T10" fmla="*/ 1 w 6"/>
                    <a:gd name="T11" fmla="*/ 0 h 4"/>
                    <a:gd name="T12" fmla="*/ 0 w 6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2" y="4"/>
                        <a:pt x="4" y="4"/>
                        <a:pt x="5" y="4"/>
                      </a:cubicBezTo>
                      <a:cubicBezTo>
                        <a:pt x="6" y="1"/>
                        <a:pt x="6" y="1"/>
                        <a:pt x="6" y="1"/>
                      </a:cubicBezTo>
                      <a:cubicBezTo>
                        <a:pt x="4" y="1"/>
                        <a:pt x="3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2C0C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" name="Freeform 122"/>
                <p:cNvSpPr>
                  <a:spLocks/>
                </p:cNvSpPr>
                <p:nvPr/>
              </p:nvSpPr>
              <p:spPr bwMode="auto">
                <a:xfrm>
                  <a:off x="2293938" y="2516188"/>
                  <a:ext cx="63500" cy="311150"/>
                </a:xfrm>
                <a:custGeom>
                  <a:avLst/>
                  <a:gdLst>
                    <a:gd name="T0" fmla="*/ 8 w 13"/>
                    <a:gd name="T1" fmla="*/ 0 h 64"/>
                    <a:gd name="T2" fmla="*/ 0 w 13"/>
                    <a:gd name="T3" fmla="*/ 63 h 64"/>
                    <a:gd name="T4" fmla="*/ 0 w 13"/>
                    <a:gd name="T5" fmla="*/ 63 h 64"/>
                    <a:gd name="T6" fmla="*/ 1 w 13"/>
                    <a:gd name="T7" fmla="*/ 63 h 64"/>
                    <a:gd name="T8" fmla="*/ 2 w 13"/>
                    <a:gd name="T9" fmla="*/ 63 h 64"/>
                    <a:gd name="T10" fmla="*/ 2 w 13"/>
                    <a:gd name="T11" fmla="*/ 63 h 64"/>
                    <a:gd name="T12" fmla="*/ 2 w 13"/>
                    <a:gd name="T13" fmla="*/ 63 h 64"/>
                    <a:gd name="T14" fmla="*/ 4 w 13"/>
                    <a:gd name="T15" fmla="*/ 64 h 64"/>
                    <a:gd name="T16" fmla="*/ 5 w 13"/>
                    <a:gd name="T17" fmla="*/ 64 h 64"/>
                    <a:gd name="T18" fmla="*/ 13 w 13"/>
                    <a:gd name="T19" fmla="*/ 0 h 64"/>
                    <a:gd name="T20" fmla="*/ 8 w 13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1" y="63"/>
                      </a:cubicBezTo>
                      <a:cubicBezTo>
                        <a:pt x="1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3" y="63"/>
                        <a:pt x="3" y="64"/>
                        <a:pt x="4" y="64"/>
                      </a:cubicBezTo>
                      <a:cubicBezTo>
                        <a:pt x="4" y="64"/>
                        <a:pt x="5" y="64"/>
                        <a:pt x="5" y="64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2" y="0"/>
                        <a:pt x="10" y="0"/>
                        <a:pt x="8" y="0"/>
                      </a:cubicBezTo>
                    </a:path>
                  </a:pathLst>
                </a:custGeom>
                <a:solidFill>
                  <a:srgbClr val="F5EA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" name="Freeform 123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2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2 w 3"/>
                    <a:gd name="T7" fmla="*/ 0 h 1"/>
                    <a:gd name="T8" fmla="*/ 0 w 3"/>
                    <a:gd name="T9" fmla="*/ 0 h 1"/>
                    <a:gd name="T10" fmla="*/ 0 w 3"/>
                    <a:gd name="T11" fmla="*/ 0 h 1"/>
                    <a:gd name="T12" fmla="*/ 1 w 3"/>
                    <a:gd name="T13" fmla="*/ 0 h 1"/>
                    <a:gd name="T14" fmla="*/ 1 w 3"/>
                    <a:gd name="T15" fmla="*/ 0 h 1"/>
                    <a:gd name="T16" fmla="*/ 0 w 3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EC5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" name="Freeform 124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1 w 3"/>
                    <a:gd name="T1" fmla="*/ 0 h 1"/>
                    <a:gd name="T2" fmla="*/ 2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1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1 w 3"/>
                    <a:gd name="T15" fmla="*/ 0 h 1"/>
                    <a:gd name="T16" fmla="*/ 1 w 3"/>
                    <a:gd name="T17" fmla="*/ 0 h 1"/>
                    <a:gd name="T18" fmla="*/ 0 w 3"/>
                    <a:gd name="T1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1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2CDC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  <p:sp>
          <p:nvSpPr>
            <p:cNvPr id="12" name="Rectangle 11"/>
            <p:cNvSpPr/>
            <p:nvPr/>
          </p:nvSpPr>
          <p:spPr bwMode="auto">
            <a:xfrm>
              <a:off x="3542839" y="1754690"/>
              <a:ext cx="5507908" cy="300803"/>
            </a:xfrm>
            <a:prstGeom prst="rect">
              <a:avLst/>
            </a:prstGeom>
            <a:solidFill>
              <a:srgbClr val="0070C0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30000"/>
                </a:spcAft>
                <a:buClr>
                  <a:schemeClr val="accent1"/>
                </a:buClr>
              </a:pPr>
              <a:endParaRPr lang="en-GB" sz="2100">
                <a:latin typeface="Arial" pitchFamily="34" charset="0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3599254" y="1773745"/>
            <a:ext cx="4512176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5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Service Level Management |Portfolio Overview </a:t>
            </a:r>
            <a:endParaRPr lang="en-GB" sz="15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5122" name="Picture 2" descr="Image result for Germany round fla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94" t="12208" r="19394" b="7191"/>
          <a:stretch/>
        </p:blipFill>
        <p:spPr bwMode="auto">
          <a:xfrm>
            <a:off x="4283614" y="2493690"/>
            <a:ext cx="1113544" cy="1100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Image result for UK round fla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672" y="2553049"/>
            <a:ext cx="917780" cy="91778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Image result for us round fla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25" r="14725"/>
          <a:stretch/>
        </p:blipFill>
        <p:spPr bwMode="auto">
          <a:xfrm>
            <a:off x="7466678" y="2488037"/>
            <a:ext cx="1008134" cy="1072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5" name="Group 239"/>
          <p:cNvGrpSpPr>
            <a:grpSpLocks/>
          </p:cNvGrpSpPr>
          <p:nvPr/>
        </p:nvGrpSpPr>
        <p:grpSpPr bwMode="auto">
          <a:xfrm>
            <a:off x="8175622" y="7220228"/>
            <a:ext cx="3659314" cy="4877929"/>
            <a:chOff x="96" y="1859"/>
            <a:chExt cx="2136" cy="2350"/>
          </a:xfrm>
        </p:grpSpPr>
        <p:sp>
          <p:nvSpPr>
            <p:cNvPr id="136" name="Freeform 240"/>
            <p:cNvSpPr>
              <a:spLocks/>
            </p:cNvSpPr>
            <p:nvPr/>
          </p:nvSpPr>
          <p:spPr bwMode="auto">
            <a:xfrm>
              <a:off x="96" y="1859"/>
              <a:ext cx="2136" cy="2269"/>
            </a:xfrm>
            <a:custGeom>
              <a:avLst/>
              <a:gdLst>
                <a:gd name="T0" fmla="*/ 2136 w 2136"/>
                <a:gd name="T1" fmla="*/ 2253 h 2269"/>
                <a:gd name="T2" fmla="*/ 1992 w 2136"/>
                <a:gd name="T3" fmla="*/ 1797 h 2269"/>
                <a:gd name="T4" fmla="*/ 1712 w 2136"/>
                <a:gd name="T5" fmla="*/ 1709 h 2269"/>
                <a:gd name="T6" fmla="*/ 1488 w 2136"/>
                <a:gd name="T7" fmla="*/ 1501 h 2269"/>
                <a:gd name="T8" fmla="*/ 1240 w 2136"/>
                <a:gd name="T9" fmla="*/ 1485 h 2269"/>
                <a:gd name="T10" fmla="*/ 976 w 2136"/>
                <a:gd name="T11" fmla="*/ 1333 h 2269"/>
                <a:gd name="T12" fmla="*/ 752 w 2136"/>
                <a:gd name="T13" fmla="*/ 1333 h 2269"/>
                <a:gd name="T14" fmla="*/ 680 w 2136"/>
                <a:gd name="T15" fmla="*/ 1405 h 2269"/>
                <a:gd name="T16" fmla="*/ 504 w 2136"/>
                <a:gd name="T17" fmla="*/ 1165 h 2269"/>
                <a:gd name="T18" fmla="*/ 480 w 2136"/>
                <a:gd name="T19" fmla="*/ 813 h 2269"/>
                <a:gd name="T20" fmla="*/ 392 w 2136"/>
                <a:gd name="T21" fmla="*/ 573 h 2269"/>
                <a:gd name="T22" fmla="*/ 400 w 2136"/>
                <a:gd name="T23" fmla="*/ 349 h 2269"/>
                <a:gd name="T24" fmla="*/ 304 w 2136"/>
                <a:gd name="T25" fmla="*/ 53 h 2269"/>
                <a:gd name="T26" fmla="*/ 152 w 2136"/>
                <a:gd name="T27" fmla="*/ 29 h 2269"/>
                <a:gd name="T28" fmla="*/ 48 w 2136"/>
                <a:gd name="T29" fmla="*/ 165 h 2269"/>
                <a:gd name="T30" fmla="*/ 8 w 2136"/>
                <a:gd name="T31" fmla="*/ 813 h 2269"/>
                <a:gd name="T32" fmla="*/ 96 w 2136"/>
                <a:gd name="T33" fmla="*/ 1349 h 2269"/>
                <a:gd name="T34" fmla="*/ 144 w 2136"/>
                <a:gd name="T35" fmla="*/ 1885 h 2269"/>
                <a:gd name="T36" fmla="*/ 144 w 2136"/>
                <a:gd name="T37" fmla="*/ 2269 h 2269"/>
                <a:gd name="T38" fmla="*/ 2136 w 2136"/>
                <a:gd name="T39" fmla="*/ 2253 h 2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136" h="2269">
                  <a:moveTo>
                    <a:pt x="2136" y="2253"/>
                  </a:moveTo>
                  <a:cubicBezTo>
                    <a:pt x="2099" y="2070"/>
                    <a:pt x="2063" y="1888"/>
                    <a:pt x="1992" y="1797"/>
                  </a:cubicBezTo>
                  <a:cubicBezTo>
                    <a:pt x="1921" y="1706"/>
                    <a:pt x="1796" y="1758"/>
                    <a:pt x="1712" y="1709"/>
                  </a:cubicBezTo>
                  <a:cubicBezTo>
                    <a:pt x="1628" y="1660"/>
                    <a:pt x="1567" y="1538"/>
                    <a:pt x="1488" y="1501"/>
                  </a:cubicBezTo>
                  <a:cubicBezTo>
                    <a:pt x="1409" y="1464"/>
                    <a:pt x="1325" y="1513"/>
                    <a:pt x="1240" y="1485"/>
                  </a:cubicBezTo>
                  <a:cubicBezTo>
                    <a:pt x="1155" y="1457"/>
                    <a:pt x="1057" y="1358"/>
                    <a:pt x="976" y="1333"/>
                  </a:cubicBezTo>
                  <a:cubicBezTo>
                    <a:pt x="895" y="1308"/>
                    <a:pt x="801" y="1321"/>
                    <a:pt x="752" y="1333"/>
                  </a:cubicBezTo>
                  <a:cubicBezTo>
                    <a:pt x="703" y="1345"/>
                    <a:pt x="721" y="1433"/>
                    <a:pt x="680" y="1405"/>
                  </a:cubicBezTo>
                  <a:cubicBezTo>
                    <a:pt x="639" y="1377"/>
                    <a:pt x="537" y="1264"/>
                    <a:pt x="504" y="1165"/>
                  </a:cubicBezTo>
                  <a:cubicBezTo>
                    <a:pt x="471" y="1066"/>
                    <a:pt x="499" y="912"/>
                    <a:pt x="480" y="813"/>
                  </a:cubicBezTo>
                  <a:cubicBezTo>
                    <a:pt x="461" y="714"/>
                    <a:pt x="405" y="650"/>
                    <a:pt x="392" y="573"/>
                  </a:cubicBezTo>
                  <a:cubicBezTo>
                    <a:pt x="379" y="496"/>
                    <a:pt x="415" y="436"/>
                    <a:pt x="400" y="349"/>
                  </a:cubicBezTo>
                  <a:cubicBezTo>
                    <a:pt x="385" y="262"/>
                    <a:pt x="345" y="106"/>
                    <a:pt x="304" y="53"/>
                  </a:cubicBezTo>
                  <a:cubicBezTo>
                    <a:pt x="263" y="0"/>
                    <a:pt x="195" y="10"/>
                    <a:pt x="152" y="29"/>
                  </a:cubicBezTo>
                  <a:cubicBezTo>
                    <a:pt x="109" y="48"/>
                    <a:pt x="72" y="34"/>
                    <a:pt x="48" y="165"/>
                  </a:cubicBezTo>
                  <a:cubicBezTo>
                    <a:pt x="24" y="296"/>
                    <a:pt x="0" y="616"/>
                    <a:pt x="8" y="813"/>
                  </a:cubicBezTo>
                  <a:cubicBezTo>
                    <a:pt x="16" y="1010"/>
                    <a:pt x="73" y="1170"/>
                    <a:pt x="96" y="1349"/>
                  </a:cubicBezTo>
                  <a:cubicBezTo>
                    <a:pt x="119" y="1528"/>
                    <a:pt x="136" y="1732"/>
                    <a:pt x="144" y="1885"/>
                  </a:cubicBezTo>
                  <a:cubicBezTo>
                    <a:pt x="152" y="2038"/>
                    <a:pt x="144" y="2205"/>
                    <a:pt x="144" y="2269"/>
                  </a:cubicBezTo>
                  <a:cubicBezTo>
                    <a:pt x="144" y="2269"/>
                    <a:pt x="2136" y="2253"/>
                    <a:pt x="2136" y="2253"/>
                  </a:cubicBezTo>
                  <a:close/>
                </a:path>
              </a:pathLst>
            </a:custGeom>
            <a:solidFill>
              <a:srgbClr val="D6A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37" name="Group 241"/>
            <p:cNvGrpSpPr>
              <a:grpSpLocks/>
            </p:cNvGrpSpPr>
            <p:nvPr/>
          </p:nvGrpSpPr>
          <p:grpSpPr bwMode="auto">
            <a:xfrm>
              <a:off x="159" y="1880"/>
              <a:ext cx="1865" cy="2329"/>
              <a:chOff x="159" y="1880"/>
              <a:chExt cx="1865" cy="2329"/>
            </a:xfrm>
          </p:grpSpPr>
          <p:sp>
            <p:nvSpPr>
              <p:cNvPr id="139" name="Freeform 242"/>
              <p:cNvSpPr>
                <a:spLocks/>
              </p:cNvSpPr>
              <p:nvPr/>
            </p:nvSpPr>
            <p:spPr bwMode="auto">
              <a:xfrm>
                <a:off x="284" y="2599"/>
                <a:ext cx="1740" cy="1610"/>
              </a:xfrm>
              <a:custGeom>
                <a:avLst/>
                <a:gdLst>
                  <a:gd name="T0" fmla="*/ 908 w 1740"/>
                  <a:gd name="T1" fmla="*/ 1513 h 1610"/>
                  <a:gd name="T2" fmla="*/ 876 w 1740"/>
                  <a:gd name="T3" fmla="*/ 1049 h 1610"/>
                  <a:gd name="T4" fmla="*/ 1012 w 1740"/>
                  <a:gd name="T5" fmla="*/ 1217 h 1610"/>
                  <a:gd name="T6" fmla="*/ 1012 w 1740"/>
                  <a:gd name="T7" fmla="*/ 1545 h 1610"/>
                  <a:gd name="T8" fmla="*/ 1228 w 1740"/>
                  <a:gd name="T9" fmla="*/ 1545 h 1610"/>
                  <a:gd name="T10" fmla="*/ 1356 w 1740"/>
                  <a:gd name="T11" fmla="*/ 1153 h 1610"/>
                  <a:gd name="T12" fmla="*/ 1548 w 1740"/>
                  <a:gd name="T13" fmla="*/ 1329 h 1610"/>
                  <a:gd name="T14" fmla="*/ 1636 w 1740"/>
                  <a:gd name="T15" fmla="*/ 1177 h 1610"/>
                  <a:gd name="T16" fmla="*/ 1732 w 1740"/>
                  <a:gd name="T17" fmla="*/ 1113 h 1610"/>
                  <a:gd name="T18" fmla="*/ 1588 w 1740"/>
                  <a:gd name="T19" fmla="*/ 1113 h 1610"/>
                  <a:gd name="T20" fmla="*/ 1546 w 1740"/>
                  <a:gd name="T21" fmla="*/ 1328 h 1610"/>
                  <a:gd name="T22" fmla="*/ 1357 w 1740"/>
                  <a:gd name="T23" fmla="*/ 1151 h 1610"/>
                  <a:gd name="T24" fmla="*/ 1372 w 1740"/>
                  <a:gd name="T25" fmla="*/ 905 h 1610"/>
                  <a:gd name="T26" fmla="*/ 1188 w 1740"/>
                  <a:gd name="T27" fmla="*/ 801 h 1610"/>
                  <a:gd name="T28" fmla="*/ 1084 w 1740"/>
                  <a:gd name="T29" fmla="*/ 1025 h 1610"/>
                  <a:gd name="T30" fmla="*/ 796 w 1740"/>
                  <a:gd name="T31" fmla="*/ 673 h 1610"/>
                  <a:gd name="T32" fmla="*/ 564 w 1740"/>
                  <a:gd name="T33" fmla="*/ 697 h 1610"/>
                  <a:gd name="T34" fmla="*/ 412 w 1740"/>
                  <a:gd name="T35" fmla="*/ 889 h 1610"/>
                  <a:gd name="T36" fmla="*/ 196 w 1740"/>
                  <a:gd name="T37" fmla="*/ 745 h 1610"/>
                  <a:gd name="T38" fmla="*/ 164 w 1740"/>
                  <a:gd name="T39" fmla="*/ 353 h 1610"/>
                  <a:gd name="T40" fmla="*/ 100 w 1740"/>
                  <a:gd name="T41" fmla="*/ 25 h 1610"/>
                  <a:gd name="T42" fmla="*/ 84 w 1740"/>
                  <a:gd name="T43" fmla="*/ 201 h 1610"/>
                  <a:gd name="T44" fmla="*/ 84 w 1740"/>
                  <a:gd name="T45" fmla="*/ 793 h 1610"/>
                  <a:gd name="T46" fmla="*/ 12 w 1740"/>
                  <a:gd name="T47" fmla="*/ 1321 h 1610"/>
                  <a:gd name="T48" fmla="*/ 12 w 1740"/>
                  <a:gd name="T49" fmla="*/ 1569 h 1610"/>
                  <a:gd name="T50" fmla="*/ 908 w 1740"/>
                  <a:gd name="T51" fmla="*/ 1513 h 161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740" h="1610">
                    <a:moveTo>
                      <a:pt x="908" y="1513"/>
                    </a:moveTo>
                    <a:cubicBezTo>
                      <a:pt x="883" y="1305"/>
                      <a:pt x="859" y="1098"/>
                      <a:pt x="876" y="1049"/>
                    </a:cubicBezTo>
                    <a:cubicBezTo>
                      <a:pt x="893" y="1000"/>
                      <a:pt x="989" y="1134"/>
                      <a:pt x="1012" y="1217"/>
                    </a:cubicBezTo>
                    <a:cubicBezTo>
                      <a:pt x="1035" y="1300"/>
                      <a:pt x="976" y="1490"/>
                      <a:pt x="1012" y="1545"/>
                    </a:cubicBezTo>
                    <a:cubicBezTo>
                      <a:pt x="1048" y="1600"/>
                      <a:pt x="1171" y="1610"/>
                      <a:pt x="1228" y="1545"/>
                    </a:cubicBezTo>
                    <a:cubicBezTo>
                      <a:pt x="1285" y="1480"/>
                      <a:pt x="1303" y="1189"/>
                      <a:pt x="1356" y="1153"/>
                    </a:cubicBezTo>
                    <a:lnTo>
                      <a:pt x="1548" y="1329"/>
                    </a:lnTo>
                    <a:cubicBezTo>
                      <a:pt x="1595" y="1333"/>
                      <a:pt x="1605" y="1213"/>
                      <a:pt x="1636" y="1177"/>
                    </a:cubicBezTo>
                    <a:cubicBezTo>
                      <a:pt x="1667" y="1141"/>
                      <a:pt x="1740" y="1124"/>
                      <a:pt x="1732" y="1113"/>
                    </a:cubicBezTo>
                    <a:cubicBezTo>
                      <a:pt x="1724" y="1102"/>
                      <a:pt x="1619" y="1077"/>
                      <a:pt x="1588" y="1113"/>
                    </a:cubicBezTo>
                    <a:cubicBezTo>
                      <a:pt x="1557" y="1149"/>
                      <a:pt x="1584" y="1322"/>
                      <a:pt x="1546" y="1328"/>
                    </a:cubicBezTo>
                    <a:lnTo>
                      <a:pt x="1357" y="1151"/>
                    </a:lnTo>
                    <a:cubicBezTo>
                      <a:pt x="1328" y="1081"/>
                      <a:pt x="1400" y="963"/>
                      <a:pt x="1372" y="905"/>
                    </a:cubicBezTo>
                    <a:cubicBezTo>
                      <a:pt x="1344" y="847"/>
                      <a:pt x="1236" y="781"/>
                      <a:pt x="1188" y="801"/>
                    </a:cubicBezTo>
                    <a:cubicBezTo>
                      <a:pt x="1140" y="821"/>
                      <a:pt x="1149" y="1046"/>
                      <a:pt x="1084" y="1025"/>
                    </a:cubicBezTo>
                    <a:cubicBezTo>
                      <a:pt x="1019" y="1004"/>
                      <a:pt x="883" y="728"/>
                      <a:pt x="796" y="673"/>
                    </a:cubicBezTo>
                    <a:cubicBezTo>
                      <a:pt x="709" y="618"/>
                      <a:pt x="628" y="661"/>
                      <a:pt x="564" y="697"/>
                    </a:cubicBezTo>
                    <a:cubicBezTo>
                      <a:pt x="500" y="733"/>
                      <a:pt x="473" y="881"/>
                      <a:pt x="412" y="889"/>
                    </a:cubicBezTo>
                    <a:cubicBezTo>
                      <a:pt x="351" y="897"/>
                      <a:pt x="237" y="834"/>
                      <a:pt x="196" y="745"/>
                    </a:cubicBezTo>
                    <a:cubicBezTo>
                      <a:pt x="155" y="656"/>
                      <a:pt x="180" y="473"/>
                      <a:pt x="164" y="353"/>
                    </a:cubicBezTo>
                    <a:cubicBezTo>
                      <a:pt x="148" y="233"/>
                      <a:pt x="113" y="50"/>
                      <a:pt x="100" y="25"/>
                    </a:cubicBezTo>
                    <a:cubicBezTo>
                      <a:pt x="87" y="0"/>
                      <a:pt x="87" y="73"/>
                      <a:pt x="84" y="201"/>
                    </a:cubicBezTo>
                    <a:cubicBezTo>
                      <a:pt x="81" y="329"/>
                      <a:pt x="96" y="606"/>
                      <a:pt x="84" y="793"/>
                    </a:cubicBezTo>
                    <a:cubicBezTo>
                      <a:pt x="72" y="980"/>
                      <a:pt x="24" y="1192"/>
                      <a:pt x="12" y="1321"/>
                    </a:cubicBezTo>
                    <a:cubicBezTo>
                      <a:pt x="0" y="1450"/>
                      <a:pt x="6" y="1509"/>
                      <a:pt x="12" y="1569"/>
                    </a:cubicBezTo>
                    <a:cubicBezTo>
                      <a:pt x="12" y="1569"/>
                      <a:pt x="908" y="1513"/>
                      <a:pt x="908" y="1513"/>
                    </a:cubicBezTo>
                    <a:close/>
                  </a:path>
                </a:pathLst>
              </a:custGeom>
              <a:solidFill>
                <a:srgbClr val="D6A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" name="Freeform 243"/>
              <p:cNvSpPr>
                <a:spLocks/>
              </p:cNvSpPr>
              <p:nvPr/>
            </p:nvSpPr>
            <p:spPr bwMode="auto">
              <a:xfrm>
                <a:off x="159" y="1880"/>
                <a:ext cx="268" cy="225"/>
              </a:xfrm>
              <a:custGeom>
                <a:avLst/>
                <a:gdLst>
                  <a:gd name="T0" fmla="*/ 9 w 268"/>
                  <a:gd name="T1" fmla="*/ 136 h 225"/>
                  <a:gd name="T2" fmla="*/ 129 w 268"/>
                  <a:gd name="T3" fmla="*/ 224 h 225"/>
                  <a:gd name="T4" fmla="*/ 257 w 268"/>
                  <a:gd name="T5" fmla="*/ 144 h 225"/>
                  <a:gd name="T6" fmla="*/ 193 w 268"/>
                  <a:gd name="T7" fmla="*/ 32 h 225"/>
                  <a:gd name="T8" fmla="*/ 73 w 268"/>
                  <a:gd name="T9" fmla="*/ 16 h 225"/>
                  <a:gd name="T10" fmla="*/ 9 w 268"/>
                  <a:gd name="T11" fmla="*/ 136 h 2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8" h="225">
                    <a:moveTo>
                      <a:pt x="9" y="136"/>
                    </a:moveTo>
                    <a:cubicBezTo>
                      <a:pt x="18" y="171"/>
                      <a:pt x="88" y="223"/>
                      <a:pt x="129" y="224"/>
                    </a:cubicBezTo>
                    <a:cubicBezTo>
                      <a:pt x="170" y="225"/>
                      <a:pt x="246" y="176"/>
                      <a:pt x="257" y="144"/>
                    </a:cubicBezTo>
                    <a:cubicBezTo>
                      <a:pt x="268" y="112"/>
                      <a:pt x="224" y="53"/>
                      <a:pt x="193" y="32"/>
                    </a:cubicBezTo>
                    <a:cubicBezTo>
                      <a:pt x="162" y="11"/>
                      <a:pt x="104" y="0"/>
                      <a:pt x="73" y="16"/>
                    </a:cubicBezTo>
                    <a:cubicBezTo>
                      <a:pt x="42" y="32"/>
                      <a:pt x="0" y="101"/>
                      <a:pt x="9" y="136"/>
                    </a:cubicBezTo>
                    <a:close/>
                  </a:path>
                </a:pathLst>
              </a:custGeom>
              <a:solidFill>
                <a:srgbClr val="E9BEA9"/>
              </a:solidFill>
              <a:ln w="9525" cap="flat" cmpd="sng">
                <a:solidFill>
                  <a:srgbClr val="DAAD80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138" name="Freeform 244"/>
            <p:cNvSpPr>
              <a:spLocks/>
            </p:cNvSpPr>
            <p:nvPr/>
          </p:nvSpPr>
          <p:spPr bwMode="auto">
            <a:xfrm>
              <a:off x="213" y="2432"/>
              <a:ext cx="188" cy="139"/>
            </a:xfrm>
            <a:custGeom>
              <a:avLst/>
              <a:gdLst>
                <a:gd name="T0" fmla="*/ 11 w 188"/>
                <a:gd name="T1" fmla="*/ 0 h 139"/>
                <a:gd name="T2" fmla="*/ 91 w 188"/>
                <a:gd name="T3" fmla="*/ 56 h 139"/>
                <a:gd name="T4" fmla="*/ 187 w 188"/>
                <a:gd name="T5" fmla="*/ 16 h 139"/>
                <a:gd name="T6" fmla="*/ 83 w 188"/>
                <a:gd name="T7" fmla="*/ 88 h 139"/>
                <a:gd name="T8" fmla="*/ 3 w 188"/>
                <a:gd name="T9" fmla="*/ 56 h 139"/>
                <a:gd name="T10" fmla="*/ 99 w 188"/>
                <a:gd name="T11" fmla="*/ 128 h 139"/>
                <a:gd name="T12" fmla="*/ 147 w 188"/>
                <a:gd name="T13" fmla="*/ 120 h 1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8" h="139">
                  <a:moveTo>
                    <a:pt x="11" y="0"/>
                  </a:moveTo>
                  <a:cubicBezTo>
                    <a:pt x="36" y="26"/>
                    <a:pt x="62" y="53"/>
                    <a:pt x="91" y="56"/>
                  </a:cubicBezTo>
                  <a:cubicBezTo>
                    <a:pt x="120" y="59"/>
                    <a:pt x="188" y="11"/>
                    <a:pt x="187" y="16"/>
                  </a:cubicBezTo>
                  <a:cubicBezTo>
                    <a:pt x="186" y="21"/>
                    <a:pt x="114" y="81"/>
                    <a:pt x="83" y="88"/>
                  </a:cubicBezTo>
                  <a:cubicBezTo>
                    <a:pt x="52" y="95"/>
                    <a:pt x="0" y="49"/>
                    <a:pt x="3" y="56"/>
                  </a:cubicBezTo>
                  <a:cubicBezTo>
                    <a:pt x="6" y="63"/>
                    <a:pt x="75" y="117"/>
                    <a:pt x="99" y="128"/>
                  </a:cubicBezTo>
                  <a:cubicBezTo>
                    <a:pt x="123" y="139"/>
                    <a:pt x="135" y="129"/>
                    <a:pt x="147" y="120"/>
                  </a:cubicBezTo>
                </a:path>
              </a:pathLst>
            </a:custGeom>
            <a:noFill/>
            <a:ln w="19050" cap="flat" cmpd="sng">
              <a:solidFill>
                <a:srgbClr val="DAAD8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987371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1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51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9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7 L -0.2625 -0.63889 " pathEditMode="relative" rAng="0" ptsTypes="AA">
                                      <p:cBhvr>
                                        <p:cTn id="28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125" y="-3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6" presetClass="emph" presetSubtype="0" decel="5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1" dur="100" fill="hold"/>
                                        <p:tgtEl>
                                          <p:spTgt spid="135"/>
                                        </p:tgtEl>
                                      </p:cBhvr>
                                      <p:by x="10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"/>
                            </p:stCondLst>
                            <p:childTnLst>
                              <p:par>
                                <p:cTn id="33" presetID="2" presetClass="exit" presetSubtype="4" ac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4" dur="300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300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 tmFilter="0, 0; .2, .5; .8, .5; 1, 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9" dur="250" autoRev="1" fill="hold"/>
                                        <p:tgtEl>
                                          <p:spTgt spid="13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200"/>
                            </p:stCondLst>
                            <p:childTnLst>
                              <p:par>
                                <p:cTn id="41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 tmFilter="0, 0; .2, .5; .8, .5; 1, 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" dur="250" autoRev="1" fill="hold"/>
                                        <p:tgtEl>
                                          <p:spTgt spid="512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4C536D6-B736-49CE-A15A-036B8228C5C7}" type="datetime1">
              <a:rPr lang="en-GB" smtClean="0"/>
              <a:t>16/07/2019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endParaRPr lang="en-US">
              <a:latin typeface="Allianz Neo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llianz Neo" pitchFamily="34" charset="0"/>
              </a:rPr>
              <a:t>Solution Overview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63724" y="1019622"/>
            <a:ext cx="1656184" cy="453183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  <a:t>Portfolio view</a:t>
            </a:r>
          </a:p>
        </p:txBody>
      </p:sp>
      <p:grpSp>
        <p:nvGrpSpPr>
          <p:cNvPr id="148" name="Group 147"/>
          <p:cNvGrpSpPr/>
          <p:nvPr/>
        </p:nvGrpSpPr>
        <p:grpSpPr>
          <a:xfrm>
            <a:off x="1494174" y="1197546"/>
            <a:ext cx="8177734" cy="7180769"/>
            <a:chOff x="1494174" y="1197546"/>
            <a:chExt cx="8177734" cy="7180769"/>
          </a:xfrm>
        </p:grpSpPr>
        <p:grpSp>
          <p:nvGrpSpPr>
            <p:cNvPr id="10" name="Group 9"/>
            <p:cNvGrpSpPr/>
            <p:nvPr/>
          </p:nvGrpSpPr>
          <p:grpSpPr>
            <a:xfrm>
              <a:off x="1494174" y="1197546"/>
              <a:ext cx="8177734" cy="7180769"/>
              <a:chOff x="1120776" y="627534"/>
              <a:chExt cx="6134098" cy="5384330"/>
            </a:xfrm>
          </p:grpSpPr>
          <p:grpSp>
            <p:nvGrpSpPr>
              <p:cNvPr id="57" name="Group 56"/>
              <p:cNvGrpSpPr/>
              <p:nvPr/>
            </p:nvGrpSpPr>
            <p:grpSpPr>
              <a:xfrm>
                <a:off x="2147888" y="627534"/>
                <a:ext cx="5106986" cy="3933826"/>
                <a:chOff x="2147888" y="320676"/>
                <a:chExt cx="5106988" cy="3933825"/>
              </a:xfrm>
            </p:grpSpPr>
            <p:sp>
              <p:nvSpPr>
                <p:cNvPr id="119" name="Freeform 7"/>
                <p:cNvSpPr>
                  <a:spLocks/>
                </p:cNvSpPr>
                <p:nvPr/>
              </p:nvSpPr>
              <p:spPr bwMode="auto">
                <a:xfrm>
                  <a:off x="2147888" y="320676"/>
                  <a:ext cx="5097463" cy="3933825"/>
                </a:xfrm>
                <a:custGeom>
                  <a:avLst/>
                  <a:gdLst>
                    <a:gd name="T0" fmla="*/ 1047 w 1047"/>
                    <a:gd name="T1" fmla="*/ 772 h 808"/>
                    <a:gd name="T2" fmla="*/ 1047 w 1047"/>
                    <a:gd name="T3" fmla="*/ 36 h 808"/>
                    <a:gd name="T4" fmla="*/ 1011 w 1047"/>
                    <a:gd name="T5" fmla="*/ 0 h 808"/>
                    <a:gd name="T6" fmla="*/ 36 w 1047"/>
                    <a:gd name="T7" fmla="*/ 0 h 808"/>
                    <a:gd name="T8" fmla="*/ 0 w 1047"/>
                    <a:gd name="T9" fmla="*/ 36 h 808"/>
                    <a:gd name="T10" fmla="*/ 0 w 1047"/>
                    <a:gd name="T11" fmla="*/ 772 h 808"/>
                    <a:gd name="T12" fmla="*/ 36 w 1047"/>
                    <a:gd name="T13" fmla="*/ 808 h 808"/>
                    <a:gd name="T14" fmla="*/ 1011 w 1047"/>
                    <a:gd name="T15" fmla="*/ 808 h 808"/>
                    <a:gd name="T16" fmla="*/ 1047 w 1047"/>
                    <a:gd name="T17" fmla="*/ 772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7" h="808">
                      <a:moveTo>
                        <a:pt x="1047" y="772"/>
                      </a:moveTo>
                      <a:cubicBezTo>
                        <a:pt x="1047" y="36"/>
                        <a:pt x="1047" y="36"/>
                        <a:pt x="1047" y="36"/>
                      </a:cubicBezTo>
                      <a:cubicBezTo>
                        <a:pt x="1047" y="17"/>
                        <a:pt x="1031" y="0"/>
                        <a:pt x="1011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16" y="0"/>
                        <a:pt x="0" y="17"/>
                        <a:pt x="0" y="36"/>
                      </a:cubicBezTo>
                      <a:cubicBezTo>
                        <a:pt x="0" y="772"/>
                        <a:pt x="0" y="772"/>
                        <a:pt x="0" y="772"/>
                      </a:cubicBezTo>
                      <a:cubicBezTo>
                        <a:pt x="0" y="792"/>
                        <a:pt x="16" y="808"/>
                        <a:pt x="36" y="808"/>
                      </a:cubicBezTo>
                      <a:cubicBezTo>
                        <a:pt x="1011" y="808"/>
                        <a:pt x="1011" y="808"/>
                        <a:pt x="1011" y="808"/>
                      </a:cubicBezTo>
                      <a:cubicBezTo>
                        <a:pt x="1031" y="808"/>
                        <a:pt x="1047" y="792"/>
                        <a:pt x="1047" y="772"/>
                      </a:cubicBezTo>
                    </a:path>
                  </a:pathLst>
                </a:custGeom>
                <a:solidFill>
                  <a:srgbClr val="21242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" name="Freeform 8"/>
                <p:cNvSpPr>
                  <a:spLocks/>
                </p:cNvSpPr>
                <p:nvPr/>
              </p:nvSpPr>
              <p:spPr bwMode="auto">
                <a:xfrm>
                  <a:off x="4656138" y="320676"/>
                  <a:ext cx="2598738" cy="2093913"/>
                </a:xfrm>
                <a:custGeom>
                  <a:avLst/>
                  <a:gdLst>
                    <a:gd name="T0" fmla="*/ 534 w 534"/>
                    <a:gd name="T1" fmla="*/ 430 h 430"/>
                    <a:gd name="T2" fmla="*/ 534 w 534"/>
                    <a:gd name="T3" fmla="*/ 36 h 430"/>
                    <a:gd name="T4" fmla="*/ 498 w 534"/>
                    <a:gd name="T5" fmla="*/ 0 h 430"/>
                    <a:gd name="T6" fmla="*/ 0 w 534"/>
                    <a:gd name="T7" fmla="*/ 0 h 430"/>
                    <a:gd name="T8" fmla="*/ 534 w 534"/>
                    <a:gd name="T9" fmla="*/ 430 h 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4" h="430">
                      <a:moveTo>
                        <a:pt x="534" y="430"/>
                      </a:moveTo>
                      <a:cubicBezTo>
                        <a:pt x="534" y="36"/>
                        <a:pt x="534" y="36"/>
                        <a:pt x="534" y="36"/>
                      </a:cubicBezTo>
                      <a:cubicBezTo>
                        <a:pt x="534" y="17"/>
                        <a:pt x="518" y="0"/>
                        <a:pt x="49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534" y="430"/>
                      </a:lnTo>
                      <a:close/>
                    </a:path>
                  </a:pathLst>
                </a:custGeom>
                <a:solidFill>
                  <a:srgbClr val="5A5A5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" name="Freeform 10"/>
                <p:cNvSpPr>
                  <a:spLocks/>
                </p:cNvSpPr>
                <p:nvPr/>
              </p:nvSpPr>
              <p:spPr bwMode="auto">
                <a:xfrm>
                  <a:off x="2659063" y="739776"/>
                  <a:ext cx="4129088" cy="3095625"/>
                </a:xfrm>
                <a:custGeom>
                  <a:avLst/>
                  <a:gdLst>
                    <a:gd name="T0" fmla="*/ 848 w 848"/>
                    <a:gd name="T1" fmla="*/ 635 h 636"/>
                    <a:gd name="T2" fmla="*/ 847 w 848"/>
                    <a:gd name="T3" fmla="*/ 636 h 636"/>
                    <a:gd name="T4" fmla="*/ 2 w 848"/>
                    <a:gd name="T5" fmla="*/ 636 h 636"/>
                    <a:gd name="T6" fmla="*/ 0 w 848"/>
                    <a:gd name="T7" fmla="*/ 635 h 636"/>
                    <a:gd name="T8" fmla="*/ 0 w 848"/>
                    <a:gd name="T9" fmla="*/ 2 h 636"/>
                    <a:gd name="T10" fmla="*/ 2 w 848"/>
                    <a:gd name="T11" fmla="*/ 0 h 636"/>
                    <a:gd name="T12" fmla="*/ 847 w 848"/>
                    <a:gd name="T13" fmla="*/ 0 h 636"/>
                    <a:gd name="T14" fmla="*/ 848 w 848"/>
                    <a:gd name="T15" fmla="*/ 2 h 636"/>
                    <a:gd name="T16" fmla="*/ 848 w 848"/>
                    <a:gd name="T17" fmla="*/ 635 h 6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8" h="636">
                      <a:moveTo>
                        <a:pt x="848" y="635"/>
                      </a:moveTo>
                      <a:cubicBezTo>
                        <a:pt x="848" y="636"/>
                        <a:pt x="847" y="636"/>
                        <a:pt x="847" y="636"/>
                      </a:cubicBezTo>
                      <a:cubicBezTo>
                        <a:pt x="2" y="636"/>
                        <a:pt x="2" y="636"/>
                        <a:pt x="2" y="636"/>
                      </a:cubicBezTo>
                      <a:cubicBezTo>
                        <a:pt x="1" y="636"/>
                        <a:pt x="0" y="636"/>
                        <a:pt x="0" y="63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847" y="0"/>
                        <a:pt x="847" y="0"/>
                        <a:pt x="847" y="0"/>
                      </a:cubicBezTo>
                      <a:cubicBezTo>
                        <a:pt x="847" y="0"/>
                        <a:pt x="848" y="1"/>
                        <a:pt x="848" y="2"/>
                      </a:cubicBezTo>
                      <a:lnTo>
                        <a:pt x="848" y="63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grpSp>
            <p:nvGrpSpPr>
              <p:cNvPr id="58" name="Group 57"/>
              <p:cNvGrpSpPr/>
              <p:nvPr/>
            </p:nvGrpSpPr>
            <p:grpSpPr>
              <a:xfrm>
                <a:off x="1120776" y="2492376"/>
                <a:ext cx="1436688" cy="3519488"/>
                <a:chOff x="1120776" y="2492376"/>
                <a:chExt cx="1436688" cy="3519488"/>
              </a:xfrm>
            </p:grpSpPr>
            <p:sp>
              <p:nvSpPr>
                <p:cNvPr id="59" name="Freeform 64"/>
                <p:cNvSpPr>
                  <a:spLocks/>
                </p:cNvSpPr>
                <p:nvPr/>
              </p:nvSpPr>
              <p:spPr bwMode="auto">
                <a:xfrm>
                  <a:off x="2411413" y="2598738"/>
                  <a:ext cx="131763" cy="1655763"/>
                </a:xfrm>
                <a:custGeom>
                  <a:avLst/>
                  <a:gdLst>
                    <a:gd name="T0" fmla="*/ 14 w 27"/>
                    <a:gd name="T1" fmla="*/ 0 h 340"/>
                    <a:gd name="T2" fmla="*/ 15 w 27"/>
                    <a:gd name="T3" fmla="*/ 5 h 340"/>
                    <a:gd name="T4" fmla="*/ 22 w 27"/>
                    <a:gd name="T5" fmla="*/ 59 h 340"/>
                    <a:gd name="T6" fmla="*/ 3 w 27"/>
                    <a:gd name="T7" fmla="*/ 161 h 340"/>
                    <a:gd name="T8" fmla="*/ 6 w 27"/>
                    <a:gd name="T9" fmla="*/ 235 h 340"/>
                    <a:gd name="T10" fmla="*/ 23 w 27"/>
                    <a:gd name="T11" fmla="*/ 340 h 340"/>
                    <a:gd name="T12" fmla="*/ 27 w 27"/>
                    <a:gd name="T13" fmla="*/ 340 h 340"/>
                    <a:gd name="T14" fmla="*/ 10 w 27"/>
                    <a:gd name="T15" fmla="*/ 239 h 340"/>
                    <a:gd name="T16" fmla="*/ 7 w 27"/>
                    <a:gd name="T17" fmla="*/ 165 h 340"/>
                    <a:gd name="T18" fmla="*/ 26 w 27"/>
                    <a:gd name="T19" fmla="*/ 64 h 340"/>
                    <a:gd name="T20" fmla="*/ 14 w 27"/>
                    <a:gd name="T21" fmla="*/ 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7" h="340">
                      <a:moveTo>
                        <a:pt x="14" y="0"/>
                      </a:moveTo>
                      <a:cubicBezTo>
                        <a:pt x="14" y="2"/>
                        <a:pt x="14" y="4"/>
                        <a:pt x="15" y="5"/>
                      </a:cubicBezTo>
                      <a:cubicBezTo>
                        <a:pt x="22" y="22"/>
                        <a:pt x="23" y="45"/>
                        <a:pt x="22" y="59"/>
                      </a:cubicBezTo>
                      <a:cubicBezTo>
                        <a:pt x="21" y="83"/>
                        <a:pt x="5" y="134"/>
                        <a:pt x="3" y="161"/>
                      </a:cubicBezTo>
                      <a:cubicBezTo>
                        <a:pt x="0" y="188"/>
                        <a:pt x="8" y="211"/>
                        <a:pt x="6" y="235"/>
                      </a:cubicBezTo>
                      <a:cubicBezTo>
                        <a:pt x="4" y="254"/>
                        <a:pt x="21" y="296"/>
                        <a:pt x="23" y="340"/>
                      </a:cubicBezTo>
                      <a:cubicBezTo>
                        <a:pt x="27" y="340"/>
                        <a:pt x="27" y="340"/>
                        <a:pt x="27" y="340"/>
                      </a:cubicBezTo>
                      <a:cubicBezTo>
                        <a:pt x="24" y="297"/>
                        <a:pt x="8" y="258"/>
                        <a:pt x="10" y="239"/>
                      </a:cubicBezTo>
                      <a:cubicBezTo>
                        <a:pt x="12" y="216"/>
                        <a:pt x="5" y="192"/>
                        <a:pt x="7" y="165"/>
                      </a:cubicBezTo>
                      <a:cubicBezTo>
                        <a:pt x="9" y="138"/>
                        <a:pt x="25" y="87"/>
                        <a:pt x="26" y="64"/>
                      </a:cubicBezTo>
                      <a:cubicBezTo>
                        <a:pt x="27" y="47"/>
                        <a:pt x="26" y="17"/>
                        <a:pt x="14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0" name="Freeform 65"/>
                <p:cNvSpPr>
                  <a:spLocks/>
                </p:cNvSpPr>
                <p:nvPr/>
              </p:nvSpPr>
              <p:spPr bwMode="auto">
                <a:xfrm>
                  <a:off x="2459038" y="2565401"/>
                  <a:ext cx="20638" cy="33338"/>
                </a:xfrm>
                <a:custGeom>
                  <a:avLst/>
                  <a:gdLst>
                    <a:gd name="T0" fmla="*/ 0 w 4"/>
                    <a:gd name="T1" fmla="*/ 0 h 7"/>
                    <a:gd name="T2" fmla="*/ 2 w 4"/>
                    <a:gd name="T3" fmla="*/ 5 h 7"/>
                    <a:gd name="T4" fmla="*/ 4 w 4"/>
                    <a:gd name="T5" fmla="*/ 7 h 7"/>
                    <a:gd name="T6" fmla="*/ 0 w 4"/>
                    <a:gd name="T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7">
                      <a:moveTo>
                        <a:pt x="0" y="0"/>
                      </a:moveTo>
                      <a:cubicBezTo>
                        <a:pt x="1" y="2"/>
                        <a:pt x="1" y="3"/>
                        <a:pt x="2" y="5"/>
                      </a:cubicBezTo>
                      <a:cubicBezTo>
                        <a:pt x="2" y="6"/>
                        <a:pt x="3" y="6"/>
                        <a:pt x="4" y="7"/>
                      </a:cubicBezTo>
                      <a:cubicBezTo>
                        <a:pt x="3" y="4"/>
                        <a:pt x="2" y="2"/>
                        <a:pt x="0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1" name="Freeform 66"/>
                <p:cNvSpPr>
                  <a:spLocks/>
                </p:cNvSpPr>
                <p:nvPr/>
              </p:nvSpPr>
              <p:spPr bwMode="auto">
                <a:xfrm>
                  <a:off x="2470151" y="2589213"/>
                  <a:ext cx="14288" cy="33338"/>
                </a:xfrm>
                <a:custGeom>
                  <a:avLst/>
                  <a:gdLst>
                    <a:gd name="T0" fmla="*/ 0 w 3"/>
                    <a:gd name="T1" fmla="*/ 0 h 7"/>
                    <a:gd name="T2" fmla="*/ 0 w 3"/>
                    <a:gd name="T3" fmla="*/ 2 h 7"/>
                    <a:gd name="T4" fmla="*/ 3 w 3"/>
                    <a:gd name="T5" fmla="*/ 7 h 7"/>
                    <a:gd name="T6" fmla="*/ 2 w 3"/>
                    <a:gd name="T7" fmla="*/ 2 h 7"/>
                    <a:gd name="T8" fmla="*/ 0 w 3"/>
                    <a:gd name="T9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7">
                      <a:moveTo>
                        <a:pt x="0" y="0"/>
                      </a:moveTo>
                      <a:cubicBezTo>
                        <a:pt x="0" y="1"/>
                        <a:pt x="0" y="1"/>
                        <a:pt x="0" y="2"/>
                      </a:cubicBezTo>
                      <a:cubicBezTo>
                        <a:pt x="1" y="4"/>
                        <a:pt x="2" y="6"/>
                        <a:pt x="3" y="7"/>
                      </a:cubicBezTo>
                      <a:cubicBezTo>
                        <a:pt x="2" y="6"/>
                        <a:pt x="2" y="4"/>
                        <a:pt x="2" y="2"/>
                      </a:cubicBez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1B1D1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2" name="Freeform 68"/>
                <p:cNvSpPr>
                  <a:spLocks/>
                </p:cNvSpPr>
                <p:nvPr/>
              </p:nvSpPr>
              <p:spPr bwMode="auto">
                <a:xfrm>
                  <a:off x="1120776" y="3286126"/>
                  <a:ext cx="311150" cy="2725738"/>
                </a:xfrm>
                <a:custGeom>
                  <a:avLst/>
                  <a:gdLst>
                    <a:gd name="T0" fmla="*/ 0 w 64"/>
                    <a:gd name="T1" fmla="*/ 560 h 560"/>
                    <a:gd name="T2" fmla="*/ 62 w 64"/>
                    <a:gd name="T3" fmla="*/ 313 h 560"/>
                    <a:gd name="T4" fmla="*/ 57 w 64"/>
                    <a:gd name="T5" fmla="*/ 0 h 5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4" h="560">
                      <a:moveTo>
                        <a:pt x="0" y="560"/>
                      </a:moveTo>
                      <a:cubicBezTo>
                        <a:pt x="19" y="510"/>
                        <a:pt x="64" y="401"/>
                        <a:pt x="62" y="313"/>
                      </a:cubicBezTo>
                      <a:cubicBezTo>
                        <a:pt x="59" y="218"/>
                        <a:pt x="19" y="10"/>
                        <a:pt x="57" y="0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3" name="Freeform 69"/>
                <p:cNvSpPr>
                  <a:spLocks/>
                </p:cNvSpPr>
                <p:nvPr/>
              </p:nvSpPr>
              <p:spPr bwMode="auto">
                <a:xfrm>
                  <a:off x="1120776" y="2492376"/>
                  <a:ext cx="1436688" cy="3519488"/>
                </a:xfrm>
                <a:custGeom>
                  <a:avLst/>
                  <a:gdLst>
                    <a:gd name="T0" fmla="*/ 57 w 295"/>
                    <a:gd name="T1" fmla="*/ 163 h 723"/>
                    <a:gd name="T2" fmla="*/ 129 w 295"/>
                    <a:gd name="T3" fmla="*/ 133 h 723"/>
                    <a:gd name="T4" fmla="*/ 191 w 295"/>
                    <a:gd name="T5" fmla="*/ 104 h 723"/>
                    <a:gd name="T6" fmla="*/ 202 w 295"/>
                    <a:gd name="T7" fmla="*/ 50 h 723"/>
                    <a:gd name="T8" fmla="*/ 255 w 295"/>
                    <a:gd name="T9" fmla="*/ 5 h 723"/>
                    <a:gd name="T10" fmla="*/ 287 w 295"/>
                    <a:gd name="T11" fmla="*/ 81 h 723"/>
                    <a:gd name="T12" fmla="*/ 268 w 295"/>
                    <a:gd name="T13" fmla="*/ 183 h 723"/>
                    <a:gd name="T14" fmla="*/ 271 w 295"/>
                    <a:gd name="T15" fmla="*/ 257 h 723"/>
                    <a:gd name="T16" fmla="*/ 287 w 295"/>
                    <a:gd name="T17" fmla="*/ 394 h 723"/>
                    <a:gd name="T18" fmla="*/ 231 w 295"/>
                    <a:gd name="T19" fmla="*/ 549 h 723"/>
                    <a:gd name="T20" fmla="*/ 188 w 295"/>
                    <a:gd name="T21" fmla="*/ 723 h 723"/>
                    <a:gd name="T22" fmla="*/ 0 w 295"/>
                    <a:gd name="T23" fmla="*/ 723 h 723"/>
                    <a:gd name="T24" fmla="*/ 57 w 295"/>
                    <a:gd name="T25" fmla="*/ 163 h 7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95" h="723">
                      <a:moveTo>
                        <a:pt x="57" y="163"/>
                      </a:moveTo>
                      <a:cubicBezTo>
                        <a:pt x="72" y="151"/>
                        <a:pt x="106" y="143"/>
                        <a:pt x="129" y="133"/>
                      </a:cubicBezTo>
                      <a:cubicBezTo>
                        <a:pt x="153" y="122"/>
                        <a:pt x="185" y="107"/>
                        <a:pt x="191" y="104"/>
                      </a:cubicBezTo>
                      <a:cubicBezTo>
                        <a:pt x="196" y="101"/>
                        <a:pt x="195" y="74"/>
                        <a:pt x="202" y="50"/>
                      </a:cubicBezTo>
                      <a:cubicBezTo>
                        <a:pt x="210" y="27"/>
                        <a:pt x="224" y="0"/>
                        <a:pt x="255" y="5"/>
                      </a:cubicBezTo>
                      <a:cubicBezTo>
                        <a:pt x="286" y="11"/>
                        <a:pt x="288" y="58"/>
                        <a:pt x="287" y="81"/>
                      </a:cubicBezTo>
                      <a:cubicBezTo>
                        <a:pt x="286" y="105"/>
                        <a:pt x="270" y="156"/>
                        <a:pt x="268" y="183"/>
                      </a:cubicBezTo>
                      <a:cubicBezTo>
                        <a:pt x="265" y="210"/>
                        <a:pt x="273" y="233"/>
                        <a:pt x="271" y="257"/>
                      </a:cubicBezTo>
                      <a:cubicBezTo>
                        <a:pt x="269" y="281"/>
                        <a:pt x="295" y="339"/>
                        <a:pt x="287" y="394"/>
                      </a:cubicBezTo>
                      <a:cubicBezTo>
                        <a:pt x="279" y="449"/>
                        <a:pt x="249" y="502"/>
                        <a:pt x="231" y="549"/>
                      </a:cubicBezTo>
                      <a:cubicBezTo>
                        <a:pt x="215" y="594"/>
                        <a:pt x="192" y="670"/>
                        <a:pt x="188" y="723"/>
                      </a:cubicBezTo>
                      <a:cubicBezTo>
                        <a:pt x="0" y="723"/>
                        <a:pt x="0" y="723"/>
                        <a:pt x="0" y="723"/>
                      </a:cubicBezTo>
                      <a:cubicBezTo>
                        <a:pt x="57" y="163"/>
                        <a:pt x="57" y="163"/>
                        <a:pt x="57" y="163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4" name="Freeform 70"/>
                <p:cNvSpPr>
                  <a:spLocks/>
                </p:cNvSpPr>
                <p:nvPr/>
              </p:nvSpPr>
              <p:spPr bwMode="auto">
                <a:xfrm>
                  <a:off x="2060576" y="2968626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C1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5" name="Freeform 71"/>
                <p:cNvSpPr>
                  <a:spLocks noEditPoints="1"/>
                </p:cNvSpPr>
                <p:nvPr/>
              </p:nvSpPr>
              <p:spPr bwMode="auto">
                <a:xfrm>
                  <a:off x="1700213" y="2968626"/>
                  <a:ext cx="360363" cy="842963"/>
                </a:xfrm>
                <a:custGeom>
                  <a:avLst/>
                  <a:gdLst>
                    <a:gd name="T0" fmla="*/ 74 w 74"/>
                    <a:gd name="T1" fmla="*/ 3 h 173"/>
                    <a:gd name="T2" fmla="*/ 56 w 74"/>
                    <a:gd name="T3" fmla="*/ 50 h 173"/>
                    <a:gd name="T4" fmla="*/ 52 w 74"/>
                    <a:gd name="T5" fmla="*/ 49 h 173"/>
                    <a:gd name="T6" fmla="*/ 39 w 74"/>
                    <a:gd name="T7" fmla="*/ 44 h 173"/>
                    <a:gd name="T8" fmla="*/ 51 w 74"/>
                    <a:gd name="T9" fmla="*/ 57 h 173"/>
                    <a:gd name="T10" fmla="*/ 57 w 74"/>
                    <a:gd name="T11" fmla="*/ 66 h 173"/>
                    <a:gd name="T12" fmla="*/ 9 w 74"/>
                    <a:gd name="T13" fmla="*/ 53 h 173"/>
                    <a:gd name="T14" fmla="*/ 4 w 74"/>
                    <a:gd name="T15" fmla="*/ 53 h 173"/>
                    <a:gd name="T16" fmla="*/ 58 w 74"/>
                    <a:gd name="T17" fmla="*/ 83 h 173"/>
                    <a:gd name="T18" fmla="*/ 53 w 74"/>
                    <a:gd name="T19" fmla="*/ 92 h 173"/>
                    <a:gd name="T20" fmla="*/ 16 w 74"/>
                    <a:gd name="T21" fmla="*/ 77 h 173"/>
                    <a:gd name="T22" fmla="*/ 12 w 74"/>
                    <a:gd name="T23" fmla="*/ 76 h 173"/>
                    <a:gd name="T24" fmla="*/ 49 w 74"/>
                    <a:gd name="T25" fmla="*/ 108 h 173"/>
                    <a:gd name="T26" fmla="*/ 21 w 74"/>
                    <a:gd name="T27" fmla="*/ 139 h 173"/>
                    <a:gd name="T28" fmla="*/ 14 w 74"/>
                    <a:gd name="T29" fmla="*/ 144 h 173"/>
                    <a:gd name="T30" fmla="*/ 32 w 74"/>
                    <a:gd name="T31" fmla="*/ 142 h 173"/>
                    <a:gd name="T32" fmla="*/ 32 w 74"/>
                    <a:gd name="T33" fmla="*/ 142 h 173"/>
                    <a:gd name="T34" fmla="*/ 30 w 74"/>
                    <a:gd name="T35" fmla="*/ 158 h 173"/>
                    <a:gd name="T36" fmla="*/ 20 w 74"/>
                    <a:gd name="T37" fmla="*/ 173 h 173"/>
                    <a:gd name="T38" fmla="*/ 20 w 74"/>
                    <a:gd name="T39" fmla="*/ 173 h 173"/>
                    <a:gd name="T40" fmla="*/ 33 w 74"/>
                    <a:gd name="T41" fmla="*/ 158 h 173"/>
                    <a:gd name="T42" fmla="*/ 74 w 74"/>
                    <a:gd name="T43" fmla="*/ 3 h 173"/>
                    <a:gd name="T44" fmla="*/ 74 w 74"/>
                    <a:gd name="T45" fmla="*/ 0 h 173"/>
                    <a:gd name="T46" fmla="*/ 74 w 74"/>
                    <a:gd name="T47" fmla="*/ 1 h 173"/>
                    <a:gd name="T48" fmla="*/ 74 w 74"/>
                    <a:gd name="T49" fmla="*/ 3 h 173"/>
                    <a:gd name="T50" fmla="*/ 74 w 74"/>
                    <a:gd name="T51" fmla="*/ 0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74" h="173">
                      <a:moveTo>
                        <a:pt x="74" y="3"/>
                      </a:moveTo>
                      <a:cubicBezTo>
                        <a:pt x="69" y="39"/>
                        <a:pt x="63" y="50"/>
                        <a:pt x="56" y="50"/>
                      </a:cubicBezTo>
                      <a:cubicBezTo>
                        <a:pt x="55" y="50"/>
                        <a:pt x="54" y="49"/>
                        <a:pt x="52" y="49"/>
                      </a:cubicBezTo>
                      <a:cubicBezTo>
                        <a:pt x="48" y="47"/>
                        <a:pt x="41" y="44"/>
                        <a:pt x="39" y="44"/>
                      </a:cubicBezTo>
                      <a:cubicBezTo>
                        <a:pt x="36" y="44"/>
                        <a:pt x="38" y="47"/>
                        <a:pt x="51" y="57"/>
                      </a:cubicBezTo>
                      <a:cubicBezTo>
                        <a:pt x="59" y="64"/>
                        <a:pt x="60" y="66"/>
                        <a:pt x="57" y="66"/>
                      </a:cubicBezTo>
                      <a:cubicBezTo>
                        <a:pt x="50" y="66"/>
                        <a:pt x="24" y="56"/>
                        <a:pt x="9" y="53"/>
                      </a:cubicBezTo>
                      <a:cubicBezTo>
                        <a:pt x="6" y="53"/>
                        <a:pt x="5" y="53"/>
                        <a:pt x="4" y="53"/>
                      </a:cubicBezTo>
                      <a:cubicBezTo>
                        <a:pt x="0" y="53"/>
                        <a:pt x="56" y="64"/>
                        <a:pt x="58" y="83"/>
                      </a:cubicBezTo>
                      <a:cubicBezTo>
                        <a:pt x="59" y="89"/>
                        <a:pt x="57" y="92"/>
                        <a:pt x="53" y="92"/>
                      </a:cubicBezTo>
                      <a:cubicBezTo>
                        <a:pt x="44" y="92"/>
                        <a:pt x="27" y="81"/>
                        <a:pt x="16" y="77"/>
                      </a:cubicBezTo>
                      <a:cubicBezTo>
                        <a:pt x="14" y="77"/>
                        <a:pt x="13" y="76"/>
                        <a:pt x="12" y="76"/>
                      </a:cubicBezTo>
                      <a:cubicBezTo>
                        <a:pt x="7" y="76"/>
                        <a:pt x="42" y="98"/>
                        <a:pt x="49" y="108"/>
                      </a:cubicBezTo>
                      <a:cubicBezTo>
                        <a:pt x="58" y="119"/>
                        <a:pt x="41" y="133"/>
                        <a:pt x="21" y="139"/>
                      </a:cubicBezTo>
                      <a:cubicBezTo>
                        <a:pt x="10" y="143"/>
                        <a:pt x="9" y="144"/>
                        <a:pt x="14" y="144"/>
                      </a:cubicBezTo>
                      <a:cubicBezTo>
                        <a:pt x="17" y="144"/>
                        <a:pt x="24" y="143"/>
                        <a:pt x="32" y="142"/>
                      </a:cubicBezTo>
                      <a:cubicBezTo>
                        <a:pt x="32" y="142"/>
                        <a:pt x="32" y="142"/>
                        <a:pt x="32" y="142"/>
                      </a:cubicBezTo>
                      <a:cubicBezTo>
                        <a:pt x="38" y="142"/>
                        <a:pt x="35" y="150"/>
                        <a:pt x="30" y="158"/>
                      </a:cubicBezTo>
                      <a:cubicBezTo>
                        <a:pt x="26" y="165"/>
                        <a:pt x="20" y="173"/>
                        <a:pt x="20" y="173"/>
                      </a:cubicBezTo>
                      <a:cubicBezTo>
                        <a:pt x="20" y="173"/>
                        <a:pt x="20" y="173"/>
                        <a:pt x="20" y="173"/>
                      </a:cubicBezTo>
                      <a:cubicBezTo>
                        <a:pt x="21" y="173"/>
                        <a:pt x="24" y="169"/>
                        <a:pt x="33" y="158"/>
                      </a:cubicBezTo>
                      <a:cubicBezTo>
                        <a:pt x="67" y="116"/>
                        <a:pt x="71" y="25"/>
                        <a:pt x="74" y="3"/>
                      </a:cubicBezTo>
                      <a:moveTo>
                        <a:pt x="74" y="0"/>
                      </a:moveTo>
                      <a:cubicBezTo>
                        <a:pt x="74" y="1"/>
                        <a:pt x="74" y="1"/>
                        <a:pt x="74" y="1"/>
                      </a:cubicBezTo>
                      <a:cubicBezTo>
                        <a:pt x="74" y="1"/>
                        <a:pt x="74" y="2"/>
                        <a:pt x="74" y="3"/>
                      </a:cubicBezTo>
                      <a:cubicBezTo>
                        <a:pt x="74" y="2"/>
                        <a:pt x="74" y="1"/>
                        <a:pt x="7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6" name="Freeform 72"/>
                <p:cNvSpPr>
                  <a:spLocks noEditPoints="1"/>
                </p:cNvSpPr>
                <p:nvPr/>
              </p:nvSpPr>
              <p:spPr bwMode="auto">
                <a:xfrm>
                  <a:off x="2114551" y="2998788"/>
                  <a:ext cx="315913" cy="146050"/>
                </a:xfrm>
                <a:custGeom>
                  <a:avLst/>
                  <a:gdLst>
                    <a:gd name="T0" fmla="*/ 9 w 65"/>
                    <a:gd name="T1" fmla="*/ 18 h 30"/>
                    <a:gd name="T2" fmla="*/ 58 w 65"/>
                    <a:gd name="T3" fmla="*/ 30 h 30"/>
                    <a:gd name="T4" fmla="*/ 59 w 65"/>
                    <a:gd name="T5" fmla="*/ 30 h 30"/>
                    <a:gd name="T6" fmla="*/ 65 w 65"/>
                    <a:gd name="T7" fmla="*/ 30 h 30"/>
                    <a:gd name="T8" fmla="*/ 65 w 65"/>
                    <a:gd name="T9" fmla="*/ 30 h 30"/>
                    <a:gd name="T10" fmla="*/ 9 w 65"/>
                    <a:gd name="T11" fmla="*/ 18 h 30"/>
                    <a:gd name="T12" fmla="*/ 14 w 65"/>
                    <a:gd name="T13" fmla="*/ 0 h 30"/>
                    <a:gd name="T14" fmla="*/ 12 w 65"/>
                    <a:gd name="T15" fmla="*/ 0 h 30"/>
                    <a:gd name="T16" fmla="*/ 0 w 65"/>
                    <a:gd name="T17" fmla="*/ 1 h 30"/>
                    <a:gd name="T18" fmla="*/ 29 w 65"/>
                    <a:gd name="T19" fmla="*/ 4 h 30"/>
                    <a:gd name="T20" fmla="*/ 43 w 65"/>
                    <a:gd name="T21" fmla="*/ 2 h 30"/>
                    <a:gd name="T22" fmla="*/ 14 w 65"/>
                    <a:gd name="T23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5" h="30">
                      <a:moveTo>
                        <a:pt x="9" y="18"/>
                      </a:moveTo>
                      <a:cubicBezTo>
                        <a:pt x="22" y="24"/>
                        <a:pt x="44" y="30"/>
                        <a:pt x="58" y="30"/>
                      </a:cubicBezTo>
                      <a:cubicBezTo>
                        <a:pt x="59" y="30"/>
                        <a:pt x="59" y="30"/>
                        <a:pt x="59" y="30"/>
                      </a:cubicBezTo>
                      <a:cubicBezTo>
                        <a:pt x="62" y="30"/>
                        <a:pt x="64" y="30"/>
                        <a:pt x="65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55" y="29"/>
                        <a:pt x="26" y="21"/>
                        <a:pt x="9" y="18"/>
                      </a:cubicBezTo>
                      <a:moveTo>
                        <a:pt x="14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8" y="0"/>
                        <a:pt x="3" y="0"/>
                        <a:pt x="0" y="1"/>
                      </a:cubicBezTo>
                      <a:cubicBezTo>
                        <a:pt x="5" y="2"/>
                        <a:pt x="17" y="4"/>
                        <a:pt x="29" y="4"/>
                      </a:cubicBezTo>
                      <a:cubicBezTo>
                        <a:pt x="34" y="4"/>
                        <a:pt x="39" y="4"/>
                        <a:pt x="43" y="2"/>
                      </a:cubicBezTo>
                      <a:cubicBezTo>
                        <a:pt x="36" y="2"/>
                        <a:pt x="24" y="0"/>
                        <a:pt x="1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7" name="Freeform 73"/>
                <p:cNvSpPr>
                  <a:spLocks noEditPoints="1"/>
                </p:cNvSpPr>
                <p:nvPr/>
              </p:nvSpPr>
              <p:spPr bwMode="auto">
                <a:xfrm>
                  <a:off x="2211388" y="2497138"/>
                  <a:ext cx="247650" cy="68263"/>
                </a:xfrm>
                <a:custGeom>
                  <a:avLst/>
                  <a:gdLst>
                    <a:gd name="T0" fmla="*/ 34 w 51"/>
                    <a:gd name="T1" fmla="*/ 2 h 14"/>
                    <a:gd name="T2" fmla="*/ 34 w 51"/>
                    <a:gd name="T3" fmla="*/ 2 h 14"/>
                    <a:gd name="T4" fmla="*/ 37 w 51"/>
                    <a:gd name="T5" fmla="*/ 3 h 14"/>
                    <a:gd name="T6" fmla="*/ 37 w 51"/>
                    <a:gd name="T7" fmla="*/ 3 h 14"/>
                    <a:gd name="T8" fmla="*/ 36 w 51"/>
                    <a:gd name="T9" fmla="*/ 6 h 14"/>
                    <a:gd name="T10" fmla="*/ 51 w 51"/>
                    <a:gd name="T11" fmla="*/ 14 h 14"/>
                    <a:gd name="T12" fmla="*/ 34 w 51"/>
                    <a:gd name="T13" fmla="*/ 2 h 14"/>
                    <a:gd name="T14" fmla="*/ 26 w 51"/>
                    <a:gd name="T15" fmla="*/ 0 h 14"/>
                    <a:gd name="T16" fmla="*/ 26 w 51"/>
                    <a:gd name="T17" fmla="*/ 0 h 14"/>
                    <a:gd name="T18" fmla="*/ 26 w 51"/>
                    <a:gd name="T19" fmla="*/ 0 h 14"/>
                    <a:gd name="T20" fmla="*/ 20 w 51"/>
                    <a:gd name="T21" fmla="*/ 0 h 14"/>
                    <a:gd name="T22" fmla="*/ 0 w 51"/>
                    <a:gd name="T23" fmla="*/ 12 h 14"/>
                    <a:gd name="T24" fmla="*/ 19 w 51"/>
                    <a:gd name="T25" fmla="*/ 4 h 14"/>
                    <a:gd name="T26" fmla="*/ 19 w 51"/>
                    <a:gd name="T27" fmla="*/ 0 h 14"/>
                    <a:gd name="T28" fmla="*/ 20 w 51"/>
                    <a:gd name="T29" fmla="*/ 0 h 14"/>
                    <a:gd name="T30" fmla="*/ 26 w 51"/>
                    <a:gd name="T31" fmla="*/ 0 h 14"/>
                    <a:gd name="T32" fmla="*/ 20 w 51"/>
                    <a:gd name="T3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1" h="14">
                      <a:moveTo>
                        <a:pt x="34" y="2"/>
                      </a:moveTo>
                      <a:cubicBezTo>
                        <a:pt x="34" y="2"/>
                        <a:pt x="34" y="2"/>
                        <a:pt x="34" y="2"/>
                      </a:cubicBezTo>
                      <a:cubicBezTo>
                        <a:pt x="35" y="2"/>
                        <a:pt x="36" y="2"/>
                        <a:pt x="37" y="3"/>
                      </a:cubicBezTo>
                      <a:cubicBezTo>
                        <a:pt x="37" y="3"/>
                        <a:pt x="37" y="3"/>
                        <a:pt x="37" y="3"/>
                      </a:cubicBezTo>
                      <a:cubicBezTo>
                        <a:pt x="36" y="6"/>
                        <a:pt x="36" y="6"/>
                        <a:pt x="36" y="6"/>
                      </a:cubicBezTo>
                      <a:cubicBezTo>
                        <a:pt x="43" y="7"/>
                        <a:pt x="48" y="10"/>
                        <a:pt x="51" y="14"/>
                      </a:cubicBezTo>
                      <a:cubicBezTo>
                        <a:pt x="48" y="7"/>
                        <a:pt x="42" y="4"/>
                        <a:pt x="34" y="2"/>
                      </a:cubicBezTo>
                      <a:moveTo>
                        <a:pt x="26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moveTo>
                        <a:pt x="20" y="0"/>
                      </a:moveTo>
                      <a:cubicBezTo>
                        <a:pt x="9" y="0"/>
                        <a:pt x="3" y="4"/>
                        <a:pt x="0" y="12"/>
                      </a:cubicBezTo>
                      <a:cubicBezTo>
                        <a:pt x="5" y="8"/>
                        <a:pt x="11" y="5"/>
                        <a:pt x="19" y="4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2" y="0"/>
                        <a:pt x="24" y="0"/>
                        <a:pt x="26" y="0"/>
                      </a:cubicBezTo>
                      <a:cubicBezTo>
                        <a:pt x="24" y="0"/>
                        <a:pt x="22" y="0"/>
                        <a:pt x="20" y="0"/>
                      </a:cubicBezTo>
                    </a:path>
                  </a:pathLst>
                </a:custGeom>
                <a:solidFill>
                  <a:srgbClr val="7674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8" name="Freeform 74"/>
                <p:cNvSpPr>
                  <a:spLocks/>
                </p:cNvSpPr>
                <p:nvPr/>
              </p:nvSpPr>
              <p:spPr bwMode="auto">
                <a:xfrm>
                  <a:off x="2386013" y="2525713"/>
                  <a:ext cx="84138" cy="63500"/>
                </a:xfrm>
                <a:custGeom>
                  <a:avLst/>
                  <a:gdLst>
                    <a:gd name="T0" fmla="*/ 0 w 17"/>
                    <a:gd name="T1" fmla="*/ 0 h 13"/>
                    <a:gd name="T2" fmla="*/ 0 w 17"/>
                    <a:gd name="T3" fmla="*/ 0 h 13"/>
                    <a:gd name="T4" fmla="*/ 13 w 17"/>
                    <a:gd name="T5" fmla="*/ 9 h 13"/>
                    <a:gd name="T6" fmla="*/ 17 w 17"/>
                    <a:gd name="T7" fmla="*/ 13 h 13"/>
                    <a:gd name="T8" fmla="*/ 15 w 17"/>
                    <a:gd name="T9" fmla="*/ 8 h 13"/>
                    <a:gd name="T10" fmla="*/ 0 w 17"/>
                    <a:gd name="T1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" h="1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2"/>
                        <a:pt x="9" y="5"/>
                        <a:pt x="13" y="9"/>
                      </a:cubicBezTo>
                      <a:cubicBezTo>
                        <a:pt x="14" y="10"/>
                        <a:pt x="16" y="11"/>
                        <a:pt x="17" y="13"/>
                      </a:cubicBezTo>
                      <a:cubicBezTo>
                        <a:pt x="16" y="11"/>
                        <a:pt x="16" y="10"/>
                        <a:pt x="15" y="8"/>
                      </a:cubicBezTo>
                      <a:cubicBezTo>
                        <a:pt x="12" y="4"/>
                        <a:pt x="7" y="1"/>
                        <a:pt x="0" y="0"/>
                      </a:cubicBezTo>
                    </a:path>
                  </a:pathLst>
                </a:custGeom>
                <a:solidFill>
                  <a:srgbClr val="74717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9" name="Freeform 75"/>
                <p:cNvSpPr>
                  <a:spLocks/>
                </p:cNvSpPr>
                <p:nvPr/>
              </p:nvSpPr>
              <p:spPr bwMode="auto">
                <a:xfrm>
                  <a:off x="2449513" y="2570163"/>
                  <a:ext cx="20638" cy="28575"/>
                </a:xfrm>
                <a:custGeom>
                  <a:avLst/>
                  <a:gdLst>
                    <a:gd name="T0" fmla="*/ 0 w 4"/>
                    <a:gd name="T1" fmla="*/ 0 h 6"/>
                    <a:gd name="T2" fmla="*/ 4 w 4"/>
                    <a:gd name="T3" fmla="*/ 6 h 6"/>
                    <a:gd name="T4" fmla="*/ 4 w 4"/>
                    <a:gd name="T5" fmla="*/ 4 h 6"/>
                    <a:gd name="T6" fmla="*/ 0 w 4"/>
                    <a:gd name="T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6">
                      <a:moveTo>
                        <a:pt x="0" y="0"/>
                      </a:moveTo>
                      <a:cubicBezTo>
                        <a:pt x="1" y="2"/>
                        <a:pt x="3" y="4"/>
                        <a:pt x="4" y="6"/>
                      </a:cubicBezTo>
                      <a:cubicBezTo>
                        <a:pt x="4" y="5"/>
                        <a:pt x="4" y="5"/>
                        <a:pt x="4" y="4"/>
                      </a:cubicBezTo>
                      <a:cubicBezTo>
                        <a:pt x="3" y="2"/>
                        <a:pt x="1" y="1"/>
                        <a:pt x="0" y="0"/>
                      </a:cubicBezTo>
                    </a:path>
                  </a:pathLst>
                </a:custGeom>
                <a:solidFill>
                  <a:srgbClr val="72707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0" name="Freeform 76"/>
                <p:cNvSpPr>
                  <a:spLocks noEditPoints="1"/>
                </p:cNvSpPr>
                <p:nvPr/>
              </p:nvSpPr>
              <p:spPr bwMode="auto">
                <a:xfrm>
                  <a:off x="2182813" y="2516188"/>
                  <a:ext cx="292100" cy="315913"/>
                </a:xfrm>
                <a:custGeom>
                  <a:avLst/>
                  <a:gdLst>
                    <a:gd name="T0" fmla="*/ 27 w 60"/>
                    <a:gd name="T1" fmla="*/ 64 h 65"/>
                    <a:gd name="T2" fmla="*/ 34 w 60"/>
                    <a:gd name="T3" fmla="*/ 65 h 65"/>
                    <a:gd name="T4" fmla="*/ 31 w 60"/>
                    <a:gd name="T5" fmla="*/ 64 h 65"/>
                    <a:gd name="T6" fmla="*/ 31 w 60"/>
                    <a:gd name="T7" fmla="*/ 64 h 65"/>
                    <a:gd name="T8" fmla="*/ 30 w 60"/>
                    <a:gd name="T9" fmla="*/ 64 h 65"/>
                    <a:gd name="T10" fmla="*/ 27 w 60"/>
                    <a:gd name="T11" fmla="*/ 64 h 65"/>
                    <a:gd name="T12" fmla="*/ 27 w 60"/>
                    <a:gd name="T13" fmla="*/ 64 h 65"/>
                    <a:gd name="T14" fmla="*/ 27 w 60"/>
                    <a:gd name="T15" fmla="*/ 64 h 65"/>
                    <a:gd name="T16" fmla="*/ 27 w 60"/>
                    <a:gd name="T17" fmla="*/ 64 h 65"/>
                    <a:gd name="T18" fmla="*/ 42 w 60"/>
                    <a:gd name="T19" fmla="*/ 2 h 65"/>
                    <a:gd name="T20" fmla="*/ 34 w 60"/>
                    <a:gd name="T21" fmla="*/ 65 h 65"/>
                    <a:gd name="T22" fmla="*/ 37 w 60"/>
                    <a:gd name="T23" fmla="*/ 65 h 65"/>
                    <a:gd name="T24" fmla="*/ 58 w 60"/>
                    <a:gd name="T25" fmla="*/ 35 h 65"/>
                    <a:gd name="T26" fmla="*/ 58 w 60"/>
                    <a:gd name="T27" fmla="*/ 35 h 65"/>
                    <a:gd name="T28" fmla="*/ 59 w 60"/>
                    <a:gd name="T29" fmla="*/ 17 h 65"/>
                    <a:gd name="T30" fmla="*/ 59 w 60"/>
                    <a:gd name="T31" fmla="*/ 17 h 65"/>
                    <a:gd name="T32" fmla="*/ 59 w 60"/>
                    <a:gd name="T33" fmla="*/ 17 h 65"/>
                    <a:gd name="T34" fmla="*/ 55 w 60"/>
                    <a:gd name="T35" fmla="*/ 11 h 65"/>
                    <a:gd name="T36" fmla="*/ 42 w 60"/>
                    <a:gd name="T37" fmla="*/ 2 h 65"/>
                    <a:gd name="T38" fmla="*/ 25 w 60"/>
                    <a:gd name="T39" fmla="*/ 0 h 65"/>
                    <a:gd name="T40" fmla="*/ 6 w 60"/>
                    <a:gd name="T41" fmla="*/ 8 h 65"/>
                    <a:gd name="T42" fmla="*/ 6 w 60"/>
                    <a:gd name="T43" fmla="*/ 8 h 65"/>
                    <a:gd name="T44" fmla="*/ 6 w 60"/>
                    <a:gd name="T45" fmla="*/ 8 h 65"/>
                    <a:gd name="T46" fmla="*/ 6 w 60"/>
                    <a:gd name="T47" fmla="*/ 8 h 65"/>
                    <a:gd name="T48" fmla="*/ 3 w 60"/>
                    <a:gd name="T49" fmla="*/ 19 h 65"/>
                    <a:gd name="T50" fmla="*/ 1 w 60"/>
                    <a:gd name="T51" fmla="*/ 28 h 65"/>
                    <a:gd name="T52" fmla="*/ 0 w 60"/>
                    <a:gd name="T53" fmla="*/ 40 h 65"/>
                    <a:gd name="T54" fmla="*/ 0 w 60"/>
                    <a:gd name="T55" fmla="*/ 40 h 65"/>
                    <a:gd name="T56" fmla="*/ 2 w 60"/>
                    <a:gd name="T57" fmla="*/ 50 h 65"/>
                    <a:gd name="T58" fmla="*/ 20 w 60"/>
                    <a:gd name="T59" fmla="*/ 62 h 65"/>
                    <a:gd name="T60" fmla="*/ 17 w 60"/>
                    <a:gd name="T61" fmla="*/ 61 h 65"/>
                    <a:gd name="T62" fmla="*/ 25 w 60"/>
                    <a:gd name="T63" fmla="*/ 0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0" h="65">
                      <a:moveTo>
                        <a:pt x="27" y="64"/>
                      </a:moveTo>
                      <a:cubicBezTo>
                        <a:pt x="30" y="64"/>
                        <a:pt x="32" y="64"/>
                        <a:pt x="34" y="65"/>
                      </a:cubicBezTo>
                      <a:cubicBezTo>
                        <a:pt x="33" y="65"/>
                        <a:pt x="32" y="64"/>
                        <a:pt x="31" y="64"/>
                      </a:cubicBezTo>
                      <a:cubicBezTo>
                        <a:pt x="31" y="64"/>
                        <a:pt x="31" y="64"/>
                        <a:pt x="31" y="64"/>
                      </a:cubicBezTo>
                      <a:cubicBezTo>
                        <a:pt x="31" y="64"/>
                        <a:pt x="31" y="64"/>
                        <a:pt x="30" y="64"/>
                      </a:cubicBezTo>
                      <a:cubicBezTo>
                        <a:pt x="29" y="64"/>
                        <a:pt x="28" y="64"/>
                        <a:pt x="27" y="64"/>
                      </a:cubicBezTo>
                      <a:moveTo>
                        <a:pt x="27" y="64"/>
                      </a:move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moveTo>
                        <a:pt x="42" y="2"/>
                      </a:moveTo>
                      <a:cubicBezTo>
                        <a:pt x="34" y="65"/>
                        <a:pt x="34" y="65"/>
                        <a:pt x="34" y="65"/>
                      </a:cubicBezTo>
                      <a:cubicBezTo>
                        <a:pt x="35" y="65"/>
                        <a:pt x="36" y="65"/>
                        <a:pt x="37" y="65"/>
                      </a:cubicBezTo>
                      <a:cubicBezTo>
                        <a:pt x="51" y="65"/>
                        <a:pt x="54" y="57"/>
                        <a:pt x="58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28"/>
                        <a:pt x="60" y="22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8" y="15"/>
                        <a:pt x="56" y="13"/>
                        <a:pt x="55" y="11"/>
                      </a:cubicBezTo>
                      <a:cubicBezTo>
                        <a:pt x="51" y="7"/>
                        <a:pt x="47" y="4"/>
                        <a:pt x="42" y="2"/>
                      </a:cubicBezTo>
                      <a:moveTo>
                        <a:pt x="25" y="0"/>
                      </a:moveTo>
                      <a:cubicBezTo>
                        <a:pt x="17" y="1"/>
                        <a:pt x="11" y="4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5" y="11"/>
                        <a:pt x="4" y="15"/>
                        <a:pt x="3" y="19"/>
                      </a:cubicBezTo>
                      <a:cubicBezTo>
                        <a:pt x="2" y="22"/>
                        <a:pt x="1" y="25"/>
                        <a:pt x="1" y="28"/>
                      </a:cubicBezTo>
                      <a:cubicBezTo>
                        <a:pt x="0" y="32"/>
                        <a:pt x="0" y="36"/>
                        <a:pt x="0" y="40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4"/>
                        <a:pt x="0" y="47"/>
                        <a:pt x="2" y="50"/>
                      </a:cubicBezTo>
                      <a:cubicBezTo>
                        <a:pt x="4" y="56"/>
                        <a:pt x="10" y="60"/>
                        <a:pt x="20" y="62"/>
                      </a:cubicBezTo>
                      <a:cubicBezTo>
                        <a:pt x="19" y="62"/>
                        <a:pt x="18" y="62"/>
                        <a:pt x="17" y="61"/>
                      </a:cubicBezTo>
                      <a:cubicBezTo>
                        <a:pt x="25" y="0"/>
                        <a:pt x="25" y="0"/>
                        <a:pt x="25" y="0"/>
                      </a:cubicBezTo>
                    </a:path>
                  </a:pathLst>
                </a:custGeom>
                <a:solidFill>
                  <a:srgbClr val="E8CD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1" name="Freeform 77"/>
                <p:cNvSpPr>
                  <a:spLocks/>
                </p:cNvSpPr>
                <p:nvPr/>
              </p:nvSpPr>
              <p:spPr bwMode="auto">
                <a:xfrm>
                  <a:off x="2157413" y="2555876"/>
                  <a:ext cx="322263" cy="287338"/>
                </a:xfrm>
                <a:custGeom>
                  <a:avLst/>
                  <a:gdLst>
                    <a:gd name="T0" fmla="*/ 11 w 66"/>
                    <a:gd name="T1" fmla="*/ 0 h 59"/>
                    <a:gd name="T2" fmla="*/ 8 w 66"/>
                    <a:gd name="T3" fmla="*/ 2 h 59"/>
                    <a:gd name="T4" fmla="*/ 4 w 66"/>
                    <a:gd name="T5" fmla="*/ 20 h 59"/>
                    <a:gd name="T6" fmla="*/ 30 w 66"/>
                    <a:gd name="T7" fmla="*/ 57 h 59"/>
                    <a:gd name="T8" fmla="*/ 42 w 66"/>
                    <a:gd name="T9" fmla="*/ 59 h 59"/>
                    <a:gd name="T10" fmla="*/ 43 w 66"/>
                    <a:gd name="T11" fmla="*/ 59 h 59"/>
                    <a:gd name="T12" fmla="*/ 65 w 66"/>
                    <a:gd name="T13" fmla="*/ 27 h 59"/>
                    <a:gd name="T14" fmla="*/ 66 w 66"/>
                    <a:gd name="T15" fmla="*/ 13 h 59"/>
                    <a:gd name="T16" fmla="*/ 64 w 66"/>
                    <a:gd name="T17" fmla="*/ 9 h 59"/>
                    <a:gd name="T18" fmla="*/ 65 w 66"/>
                    <a:gd name="T19" fmla="*/ 14 h 59"/>
                    <a:gd name="T20" fmla="*/ 65 w 66"/>
                    <a:gd name="T21" fmla="*/ 15 h 59"/>
                    <a:gd name="T22" fmla="*/ 63 w 66"/>
                    <a:gd name="T23" fmla="*/ 27 h 59"/>
                    <a:gd name="T24" fmla="*/ 63 w 66"/>
                    <a:gd name="T25" fmla="*/ 27 h 59"/>
                    <a:gd name="T26" fmla="*/ 42 w 66"/>
                    <a:gd name="T27" fmla="*/ 57 h 59"/>
                    <a:gd name="T28" fmla="*/ 42 w 66"/>
                    <a:gd name="T29" fmla="*/ 57 h 59"/>
                    <a:gd name="T30" fmla="*/ 42 w 66"/>
                    <a:gd name="T31" fmla="*/ 57 h 59"/>
                    <a:gd name="T32" fmla="*/ 39 w 66"/>
                    <a:gd name="T33" fmla="*/ 57 h 59"/>
                    <a:gd name="T34" fmla="*/ 39 w 66"/>
                    <a:gd name="T35" fmla="*/ 57 h 59"/>
                    <a:gd name="T36" fmla="*/ 39 w 66"/>
                    <a:gd name="T37" fmla="*/ 57 h 59"/>
                    <a:gd name="T38" fmla="*/ 32 w 66"/>
                    <a:gd name="T39" fmla="*/ 56 h 59"/>
                    <a:gd name="T40" fmla="*/ 32 w 66"/>
                    <a:gd name="T41" fmla="*/ 56 h 59"/>
                    <a:gd name="T42" fmla="*/ 30 w 66"/>
                    <a:gd name="T43" fmla="*/ 55 h 59"/>
                    <a:gd name="T44" fmla="*/ 29 w 66"/>
                    <a:gd name="T45" fmla="*/ 55 h 59"/>
                    <a:gd name="T46" fmla="*/ 26 w 66"/>
                    <a:gd name="T47" fmla="*/ 54 h 59"/>
                    <a:gd name="T48" fmla="*/ 26 w 66"/>
                    <a:gd name="T49" fmla="*/ 54 h 59"/>
                    <a:gd name="T50" fmla="*/ 26 w 66"/>
                    <a:gd name="T51" fmla="*/ 54 h 59"/>
                    <a:gd name="T52" fmla="*/ 7 w 66"/>
                    <a:gd name="T53" fmla="*/ 42 h 59"/>
                    <a:gd name="T54" fmla="*/ 6 w 66"/>
                    <a:gd name="T55" fmla="*/ 20 h 59"/>
                    <a:gd name="T56" fmla="*/ 8 w 66"/>
                    <a:gd name="T57" fmla="*/ 11 h 59"/>
                    <a:gd name="T58" fmla="*/ 11 w 66"/>
                    <a:gd name="T59" fmla="*/ 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6" h="59">
                      <a:moveTo>
                        <a:pt x="11" y="0"/>
                      </a:moveTo>
                      <a:cubicBezTo>
                        <a:pt x="10" y="1"/>
                        <a:pt x="9" y="1"/>
                        <a:pt x="8" y="2"/>
                      </a:cubicBezTo>
                      <a:cubicBezTo>
                        <a:pt x="7" y="7"/>
                        <a:pt x="6" y="13"/>
                        <a:pt x="4" y="20"/>
                      </a:cubicBezTo>
                      <a:cubicBezTo>
                        <a:pt x="0" y="43"/>
                        <a:pt x="5" y="53"/>
                        <a:pt x="30" y="57"/>
                      </a:cubicBezTo>
                      <a:cubicBezTo>
                        <a:pt x="35" y="58"/>
                        <a:pt x="39" y="59"/>
                        <a:pt x="42" y="59"/>
                      </a:cubicBezTo>
                      <a:cubicBezTo>
                        <a:pt x="43" y="59"/>
                        <a:pt x="43" y="59"/>
                        <a:pt x="43" y="59"/>
                      </a:cubicBezTo>
                      <a:cubicBezTo>
                        <a:pt x="57" y="58"/>
                        <a:pt x="61" y="50"/>
                        <a:pt x="65" y="27"/>
                      </a:cubicBezTo>
                      <a:cubicBezTo>
                        <a:pt x="66" y="22"/>
                        <a:pt x="66" y="17"/>
                        <a:pt x="66" y="13"/>
                      </a:cubicBezTo>
                      <a:cubicBezTo>
                        <a:pt x="66" y="12"/>
                        <a:pt x="65" y="11"/>
                        <a:pt x="64" y="9"/>
                      </a:cubicBezTo>
                      <a:cubicBezTo>
                        <a:pt x="64" y="11"/>
                        <a:pt x="65" y="13"/>
                        <a:pt x="65" y="14"/>
                      </a:cubicBezTo>
                      <a:cubicBezTo>
                        <a:pt x="65" y="15"/>
                        <a:pt x="65" y="15"/>
                        <a:pt x="65" y="15"/>
                      </a:cubicBezTo>
                      <a:cubicBezTo>
                        <a:pt x="65" y="18"/>
                        <a:pt x="64" y="22"/>
                        <a:pt x="63" y="2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59" y="49"/>
                        <a:pt x="56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1" y="57"/>
                        <a:pt x="40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7" y="56"/>
                        <a:pt x="35" y="56"/>
                        <a:pt x="32" y="56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1" y="56"/>
                        <a:pt x="31" y="55"/>
                        <a:pt x="30" y="55"/>
                      </a:cubicBezTo>
                      <a:cubicBezTo>
                        <a:pt x="30" y="55"/>
                        <a:pt x="30" y="55"/>
                        <a:pt x="29" y="55"/>
                      </a:cubicBezTo>
                      <a:cubicBezTo>
                        <a:pt x="28" y="55"/>
                        <a:pt x="27" y="55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15" y="52"/>
                        <a:pt x="9" y="48"/>
                        <a:pt x="7" y="42"/>
                      </a:cubicBezTo>
                      <a:cubicBezTo>
                        <a:pt x="4" y="37"/>
                        <a:pt x="4" y="29"/>
                        <a:pt x="6" y="20"/>
                      </a:cubicBezTo>
                      <a:cubicBezTo>
                        <a:pt x="6" y="17"/>
                        <a:pt x="7" y="14"/>
                        <a:pt x="8" y="11"/>
                      </a:cubicBezTo>
                      <a:cubicBezTo>
                        <a:pt x="9" y="7"/>
                        <a:pt x="10" y="3"/>
                        <a:pt x="11" y="0"/>
                      </a:cubicBezTo>
                    </a:path>
                  </a:pathLst>
                </a:custGeom>
                <a:solidFill>
                  <a:srgbClr val="B477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2" name="Freeform 78"/>
                <p:cNvSpPr>
                  <a:spLocks noEditPoints="1"/>
                </p:cNvSpPr>
                <p:nvPr/>
              </p:nvSpPr>
              <p:spPr bwMode="auto">
                <a:xfrm>
                  <a:off x="2192338" y="2555876"/>
                  <a:ext cx="282575" cy="276225"/>
                </a:xfrm>
                <a:custGeom>
                  <a:avLst/>
                  <a:gdLst>
                    <a:gd name="T0" fmla="*/ 32 w 58"/>
                    <a:gd name="T1" fmla="*/ 57 h 57"/>
                    <a:gd name="T2" fmla="*/ 32 w 58"/>
                    <a:gd name="T3" fmla="*/ 57 h 57"/>
                    <a:gd name="T4" fmla="*/ 35 w 58"/>
                    <a:gd name="T5" fmla="*/ 57 h 57"/>
                    <a:gd name="T6" fmla="*/ 35 w 58"/>
                    <a:gd name="T7" fmla="*/ 57 h 57"/>
                    <a:gd name="T8" fmla="*/ 32 w 58"/>
                    <a:gd name="T9" fmla="*/ 57 h 57"/>
                    <a:gd name="T10" fmla="*/ 25 w 58"/>
                    <a:gd name="T11" fmla="*/ 56 h 57"/>
                    <a:gd name="T12" fmla="*/ 32 w 58"/>
                    <a:gd name="T13" fmla="*/ 57 h 57"/>
                    <a:gd name="T14" fmla="*/ 32 w 58"/>
                    <a:gd name="T15" fmla="*/ 57 h 57"/>
                    <a:gd name="T16" fmla="*/ 25 w 58"/>
                    <a:gd name="T17" fmla="*/ 56 h 57"/>
                    <a:gd name="T18" fmla="*/ 25 w 58"/>
                    <a:gd name="T19" fmla="*/ 56 h 57"/>
                    <a:gd name="T20" fmla="*/ 25 w 58"/>
                    <a:gd name="T21" fmla="*/ 56 h 57"/>
                    <a:gd name="T22" fmla="*/ 25 w 58"/>
                    <a:gd name="T23" fmla="*/ 56 h 57"/>
                    <a:gd name="T24" fmla="*/ 25 w 58"/>
                    <a:gd name="T25" fmla="*/ 56 h 57"/>
                    <a:gd name="T26" fmla="*/ 25 w 58"/>
                    <a:gd name="T27" fmla="*/ 56 h 57"/>
                    <a:gd name="T28" fmla="*/ 25 w 58"/>
                    <a:gd name="T29" fmla="*/ 56 h 57"/>
                    <a:gd name="T30" fmla="*/ 19 w 58"/>
                    <a:gd name="T31" fmla="*/ 54 h 57"/>
                    <a:gd name="T32" fmla="*/ 19 w 58"/>
                    <a:gd name="T33" fmla="*/ 54 h 57"/>
                    <a:gd name="T34" fmla="*/ 19 w 58"/>
                    <a:gd name="T35" fmla="*/ 54 h 57"/>
                    <a:gd name="T36" fmla="*/ 0 w 58"/>
                    <a:gd name="T37" fmla="*/ 42 h 57"/>
                    <a:gd name="T38" fmla="*/ 19 w 58"/>
                    <a:gd name="T39" fmla="*/ 54 h 57"/>
                    <a:gd name="T40" fmla="*/ 18 w 58"/>
                    <a:gd name="T41" fmla="*/ 54 h 57"/>
                    <a:gd name="T42" fmla="*/ 0 w 58"/>
                    <a:gd name="T43" fmla="*/ 42 h 57"/>
                    <a:gd name="T44" fmla="*/ 57 w 58"/>
                    <a:gd name="T45" fmla="*/ 9 h 57"/>
                    <a:gd name="T46" fmla="*/ 56 w 58"/>
                    <a:gd name="T47" fmla="*/ 27 h 57"/>
                    <a:gd name="T48" fmla="*/ 56 w 58"/>
                    <a:gd name="T49" fmla="*/ 27 h 57"/>
                    <a:gd name="T50" fmla="*/ 56 w 58"/>
                    <a:gd name="T51" fmla="*/ 27 h 57"/>
                    <a:gd name="T52" fmla="*/ 58 w 58"/>
                    <a:gd name="T53" fmla="*/ 15 h 57"/>
                    <a:gd name="T54" fmla="*/ 58 w 58"/>
                    <a:gd name="T55" fmla="*/ 14 h 57"/>
                    <a:gd name="T56" fmla="*/ 57 w 58"/>
                    <a:gd name="T57" fmla="*/ 9 h 57"/>
                    <a:gd name="T58" fmla="*/ 57 w 58"/>
                    <a:gd name="T59" fmla="*/ 9 h 57"/>
                    <a:gd name="T60" fmla="*/ 4 w 58"/>
                    <a:gd name="T61" fmla="*/ 0 h 57"/>
                    <a:gd name="T62" fmla="*/ 4 w 58"/>
                    <a:gd name="T63" fmla="*/ 0 h 57"/>
                    <a:gd name="T64" fmla="*/ 4 w 58"/>
                    <a:gd name="T65" fmla="*/ 0 h 57"/>
                    <a:gd name="T66" fmla="*/ 1 w 58"/>
                    <a:gd name="T67" fmla="*/ 11 h 57"/>
                    <a:gd name="T68" fmla="*/ 4 w 58"/>
                    <a:gd name="T69" fmla="*/ 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8" h="57">
                      <a:moveTo>
                        <a:pt x="32" y="57"/>
                      </a:move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3" y="57"/>
                        <a:pt x="34" y="57"/>
                        <a:pt x="35" y="57"/>
                      </a:cubicBezTo>
                      <a:cubicBezTo>
                        <a:pt x="35" y="57"/>
                        <a:pt x="35" y="57"/>
                        <a:pt x="35" y="57"/>
                      </a:cubicBezTo>
                      <a:cubicBezTo>
                        <a:pt x="34" y="57"/>
                        <a:pt x="33" y="57"/>
                        <a:pt x="32" y="57"/>
                      </a:cubicBezTo>
                      <a:moveTo>
                        <a:pt x="25" y="56"/>
                      </a:moveTo>
                      <a:cubicBezTo>
                        <a:pt x="28" y="56"/>
                        <a:pt x="30" y="56"/>
                        <a:pt x="32" y="57"/>
                      </a:cubicBez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0" y="56"/>
                        <a:pt x="28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moveTo>
                        <a:pt x="19" y="54"/>
                      </a:moveTo>
                      <a:cubicBezTo>
                        <a:pt x="19" y="54"/>
                        <a:pt x="19" y="54"/>
                        <a:pt x="19" y="54"/>
                      </a:cubicBezTo>
                      <a:cubicBezTo>
                        <a:pt x="19" y="54"/>
                        <a:pt x="19" y="54"/>
                        <a:pt x="19" y="54"/>
                      </a:cubicBezTo>
                      <a:moveTo>
                        <a:pt x="0" y="42"/>
                      </a:moveTo>
                      <a:cubicBezTo>
                        <a:pt x="2" y="48"/>
                        <a:pt x="8" y="52"/>
                        <a:pt x="19" y="54"/>
                      </a:cubicBezTo>
                      <a:cubicBezTo>
                        <a:pt x="18" y="54"/>
                        <a:pt x="18" y="54"/>
                        <a:pt x="18" y="54"/>
                      </a:cubicBezTo>
                      <a:cubicBezTo>
                        <a:pt x="8" y="52"/>
                        <a:pt x="2" y="48"/>
                        <a:pt x="0" y="42"/>
                      </a:cubicBezTo>
                      <a:moveTo>
                        <a:pt x="57" y="9"/>
                      </a:moveTo>
                      <a:cubicBezTo>
                        <a:pt x="58" y="14"/>
                        <a:pt x="58" y="20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7" y="22"/>
                        <a:pt x="58" y="18"/>
                        <a:pt x="58" y="15"/>
                      </a:cubicBezTo>
                      <a:cubicBezTo>
                        <a:pt x="58" y="14"/>
                        <a:pt x="58" y="14"/>
                        <a:pt x="58" y="14"/>
                      </a:cubicBezTo>
                      <a:cubicBezTo>
                        <a:pt x="58" y="13"/>
                        <a:pt x="57" y="11"/>
                        <a:pt x="57" y="9"/>
                      </a:cubicBezTo>
                      <a:cubicBezTo>
                        <a:pt x="57" y="9"/>
                        <a:pt x="57" y="9"/>
                        <a:pt x="57" y="9"/>
                      </a:cubicBezTo>
                      <a:moveTo>
                        <a:pt x="4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"/>
                        <a:pt x="2" y="7"/>
                        <a:pt x="1" y="11"/>
                      </a:cubicBezTo>
                      <a:cubicBezTo>
                        <a:pt x="2" y="7"/>
                        <a:pt x="3" y="3"/>
                        <a:pt x="4" y="0"/>
                      </a:cubicBezTo>
                    </a:path>
                  </a:pathLst>
                </a:custGeom>
                <a:solidFill>
                  <a:srgbClr val="BD8B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3" name="Freeform 79"/>
                <p:cNvSpPr>
                  <a:spLocks/>
                </p:cNvSpPr>
                <p:nvPr/>
              </p:nvSpPr>
              <p:spPr bwMode="auto">
                <a:xfrm>
                  <a:off x="1870076" y="3154363"/>
                  <a:ext cx="536575" cy="730250"/>
                </a:xfrm>
                <a:custGeom>
                  <a:avLst/>
                  <a:gdLst>
                    <a:gd name="T0" fmla="*/ 45 w 110"/>
                    <a:gd name="T1" fmla="*/ 0 h 150"/>
                    <a:gd name="T2" fmla="*/ 39 w 110"/>
                    <a:gd name="T3" fmla="*/ 14 h 150"/>
                    <a:gd name="T4" fmla="*/ 10 w 110"/>
                    <a:gd name="T5" fmla="*/ 113 h 150"/>
                    <a:gd name="T6" fmla="*/ 0 w 110"/>
                    <a:gd name="T7" fmla="*/ 139 h 150"/>
                    <a:gd name="T8" fmla="*/ 0 w 110"/>
                    <a:gd name="T9" fmla="*/ 139 h 150"/>
                    <a:gd name="T10" fmla="*/ 8 w 110"/>
                    <a:gd name="T11" fmla="*/ 150 h 150"/>
                    <a:gd name="T12" fmla="*/ 20 w 110"/>
                    <a:gd name="T13" fmla="*/ 144 h 150"/>
                    <a:gd name="T14" fmla="*/ 55 w 110"/>
                    <a:gd name="T15" fmla="*/ 108 h 150"/>
                    <a:gd name="T16" fmla="*/ 69 w 110"/>
                    <a:gd name="T17" fmla="*/ 111 h 150"/>
                    <a:gd name="T18" fmla="*/ 94 w 110"/>
                    <a:gd name="T19" fmla="*/ 118 h 150"/>
                    <a:gd name="T20" fmla="*/ 101 w 110"/>
                    <a:gd name="T21" fmla="*/ 101 h 150"/>
                    <a:gd name="T22" fmla="*/ 108 w 110"/>
                    <a:gd name="T23" fmla="*/ 17 h 150"/>
                    <a:gd name="T24" fmla="*/ 110 w 110"/>
                    <a:gd name="T25" fmla="*/ 11 h 150"/>
                    <a:gd name="T26" fmla="*/ 110 w 110"/>
                    <a:gd name="T27" fmla="*/ 11 h 150"/>
                    <a:gd name="T28" fmla="*/ 106 w 110"/>
                    <a:gd name="T29" fmla="*/ 8 h 150"/>
                    <a:gd name="T30" fmla="*/ 74 w 110"/>
                    <a:gd name="T31" fmla="*/ 12 h 150"/>
                    <a:gd name="T32" fmla="*/ 45 w 110"/>
                    <a:gd name="T33" fmla="*/ 0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0" h="150">
                      <a:moveTo>
                        <a:pt x="45" y="0"/>
                      </a:moveTo>
                      <a:cubicBezTo>
                        <a:pt x="42" y="0"/>
                        <a:pt x="40" y="3"/>
                        <a:pt x="39" y="14"/>
                      </a:cubicBezTo>
                      <a:cubicBezTo>
                        <a:pt x="36" y="45"/>
                        <a:pt x="30" y="79"/>
                        <a:pt x="10" y="113"/>
                      </a:cubicBezTo>
                      <a:cubicBezTo>
                        <a:pt x="3" y="124"/>
                        <a:pt x="0" y="133"/>
                        <a:pt x="0" y="139"/>
                      </a:cubicBezTo>
                      <a:cubicBezTo>
                        <a:pt x="0" y="139"/>
                        <a:pt x="0" y="139"/>
                        <a:pt x="0" y="139"/>
                      </a:cubicBezTo>
                      <a:cubicBezTo>
                        <a:pt x="0" y="146"/>
                        <a:pt x="3" y="150"/>
                        <a:pt x="8" y="150"/>
                      </a:cubicBezTo>
                      <a:cubicBezTo>
                        <a:pt x="11" y="150"/>
                        <a:pt x="16" y="148"/>
                        <a:pt x="20" y="144"/>
                      </a:cubicBezTo>
                      <a:cubicBezTo>
                        <a:pt x="32" y="131"/>
                        <a:pt x="35" y="108"/>
                        <a:pt x="55" y="108"/>
                      </a:cubicBezTo>
                      <a:cubicBezTo>
                        <a:pt x="58" y="108"/>
                        <a:pt x="63" y="109"/>
                        <a:pt x="69" y="111"/>
                      </a:cubicBezTo>
                      <a:cubicBezTo>
                        <a:pt x="81" y="116"/>
                        <a:pt x="89" y="118"/>
                        <a:pt x="94" y="118"/>
                      </a:cubicBezTo>
                      <a:cubicBezTo>
                        <a:pt x="103" y="118"/>
                        <a:pt x="104" y="112"/>
                        <a:pt x="101" y="101"/>
                      </a:cubicBezTo>
                      <a:cubicBezTo>
                        <a:pt x="97" y="83"/>
                        <a:pt x="100" y="35"/>
                        <a:pt x="108" y="17"/>
                      </a:cubicBezTo>
                      <a:cubicBezTo>
                        <a:pt x="110" y="14"/>
                        <a:pt x="110" y="13"/>
                        <a:pt x="110" y="11"/>
                      </a:cubicBezTo>
                      <a:cubicBezTo>
                        <a:pt x="110" y="11"/>
                        <a:pt x="110" y="11"/>
                        <a:pt x="110" y="11"/>
                      </a:cubicBezTo>
                      <a:cubicBezTo>
                        <a:pt x="110" y="9"/>
                        <a:pt x="109" y="8"/>
                        <a:pt x="106" y="8"/>
                      </a:cubicBezTo>
                      <a:cubicBezTo>
                        <a:pt x="99" y="8"/>
                        <a:pt x="87" y="12"/>
                        <a:pt x="74" y="12"/>
                      </a:cubicBezTo>
                      <a:cubicBezTo>
                        <a:pt x="61" y="12"/>
                        <a:pt x="51" y="0"/>
                        <a:pt x="45" y="0"/>
                      </a:cubicBezTo>
                    </a:path>
                  </a:pathLst>
                </a:custGeom>
                <a:solidFill>
                  <a:srgbClr val="DBAB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4" name="Freeform 80"/>
                <p:cNvSpPr>
                  <a:spLocks/>
                </p:cNvSpPr>
                <p:nvPr/>
              </p:nvSpPr>
              <p:spPr bwMode="auto">
                <a:xfrm>
                  <a:off x="1874838" y="4546601"/>
                  <a:ext cx="584200" cy="1465263"/>
                </a:xfrm>
                <a:custGeom>
                  <a:avLst/>
                  <a:gdLst>
                    <a:gd name="T0" fmla="*/ 120 w 120"/>
                    <a:gd name="T1" fmla="*/ 0 h 301"/>
                    <a:gd name="T2" fmla="*/ 120 w 120"/>
                    <a:gd name="T3" fmla="*/ 0 h 301"/>
                    <a:gd name="T4" fmla="*/ 69 w 120"/>
                    <a:gd name="T5" fmla="*/ 86 h 301"/>
                    <a:gd name="T6" fmla="*/ 1 w 120"/>
                    <a:gd name="T7" fmla="*/ 275 h 301"/>
                    <a:gd name="T8" fmla="*/ 0 w 120"/>
                    <a:gd name="T9" fmla="*/ 301 h 301"/>
                    <a:gd name="T10" fmla="*/ 31 w 120"/>
                    <a:gd name="T11" fmla="*/ 301 h 301"/>
                    <a:gd name="T12" fmla="*/ 62 w 120"/>
                    <a:gd name="T13" fmla="*/ 169 h 301"/>
                    <a:gd name="T14" fmla="*/ 119 w 120"/>
                    <a:gd name="T15" fmla="*/ 3 h 301"/>
                    <a:gd name="T16" fmla="*/ 120 w 120"/>
                    <a:gd name="T17" fmla="*/ 1 h 301"/>
                    <a:gd name="T18" fmla="*/ 120 w 120"/>
                    <a:gd name="T19" fmla="*/ 0 h 301"/>
                    <a:gd name="T20" fmla="*/ 120 w 120"/>
                    <a:gd name="T21" fmla="*/ 0 h 3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0" h="301">
                      <a:moveTo>
                        <a:pt x="120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18" y="1"/>
                        <a:pt x="92" y="51"/>
                        <a:pt x="69" y="86"/>
                      </a:cubicBezTo>
                      <a:cubicBezTo>
                        <a:pt x="43" y="126"/>
                        <a:pt x="9" y="188"/>
                        <a:pt x="1" y="275"/>
                      </a:cubicBezTo>
                      <a:cubicBezTo>
                        <a:pt x="1" y="283"/>
                        <a:pt x="0" y="292"/>
                        <a:pt x="0" y="301"/>
                      </a:cubicBezTo>
                      <a:cubicBezTo>
                        <a:pt x="31" y="301"/>
                        <a:pt x="31" y="301"/>
                        <a:pt x="31" y="301"/>
                      </a:cubicBezTo>
                      <a:cubicBezTo>
                        <a:pt x="38" y="229"/>
                        <a:pt x="52" y="204"/>
                        <a:pt x="62" y="169"/>
                      </a:cubicBezTo>
                      <a:cubicBezTo>
                        <a:pt x="73" y="124"/>
                        <a:pt x="116" y="30"/>
                        <a:pt x="119" y="3"/>
                      </a:cubicBezTo>
                      <a:cubicBezTo>
                        <a:pt x="120" y="2"/>
                        <a:pt x="120" y="1"/>
                        <a:pt x="120" y="1"/>
                      </a:cubicBez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0"/>
                        <a:pt x="120" y="0"/>
                        <a:pt x="120" y="0"/>
                      </a:cubicBezTo>
                    </a:path>
                  </a:pathLst>
                </a:custGeom>
                <a:solidFill>
                  <a:srgbClr val="E0B2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5" name="Freeform 8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1 w 3"/>
                    <a:gd name="T3" fmla="*/ 0 h 1"/>
                    <a:gd name="T4" fmla="*/ 3 w 3"/>
                    <a:gd name="T5" fmla="*/ 1 h 1"/>
                    <a:gd name="T6" fmla="*/ 1 w 3"/>
                    <a:gd name="T7" fmla="*/ 0 h 1"/>
                    <a:gd name="T8" fmla="*/ 1 w 3"/>
                    <a:gd name="T9" fmla="*/ 0 h 1"/>
                    <a:gd name="T10" fmla="*/ 1 w 3"/>
                    <a:gd name="T11" fmla="*/ 0 h 1"/>
                    <a:gd name="T12" fmla="*/ 1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6" name="Freeform 82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3 w 3"/>
                    <a:gd name="T3" fmla="*/ 3 w 3"/>
                    <a:gd name="T4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7" name="Freeform 83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9525" cy="0"/>
                </a:xfrm>
                <a:custGeom>
                  <a:avLst/>
                  <a:gdLst>
                    <a:gd name="T0" fmla="*/ 1 w 2"/>
                    <a:gd name="T1" fmla="*/ 2 w 2"/>
                    <a:gd name="T2" fmla="*/ 2 w 2"/>
                    <a:gd name="T3" fmla="*/ 1 w 2"/>
                    <a:gd name="T4" fmla="*/ 0 w 2"/>
                    <a:gd name="T5" fmla="*/ 1 w 2"/>
                    <a:gd name="T6" fmla="*/ 0 w 2"/>
                    <a:gd name="T7" fmla="*/ 0 w 2"/>
                    <a:gd name="T8" fmla="*/ 0 w 2"/>
                    <a:gd name="T9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2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8" name="Freeform 84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  <a:gd name="T3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9" name="Freeform 8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0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0" name="Freeform 8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0 w 3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1" name="Freeform 87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2" name="Freeform 8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3" name="Freeform 89"/>
                <p:cNvSpPr>
                  <a:spLocks/>
                </p:cNvSpPr>
                <p:nvPr/>
              </p:nvSpPr>
              <p:spPr bwMode="auto">
                <a:xfrm>
                  <a:off x="2303463" y="2822576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2 w 2"/>
                    <a:gd name="T5" fmla="*/ 1 h 1"/>
                    <a:gd name="T6" fmla="*/ 1 w 2"/>
                    <a:gd name="T7" fmla="*/ 0 h 1"/>
                    <a:gd name="T8" fmla="*/ 0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4" name="Freeform 90"/>
                <p:cNvSpPr>
                  <a:spLocks noEditPoints="1"/>
                </p:cNvSpPr>
                <p:nvPr/>
              </p:nvSpPr>
              <p:spPr bwMode="auto">
                <a:xfrm>
                  <a:off x="2303463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  <a:gd name="T4" fmla="*/ 0 w 1"/>
                    <a:gd name="T5" fmla="*/ 0 w 1"/>
                    <a:gd name="T6" fmla="*/ 0 w 1"/>
                    <a:gd name="T7" fmla="*/ 0 w 1"/>
                    <a:gd name="T8" fmla="*/ 0 w 1"/>
                    <a:gd name="T9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5" name="Freeform 91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6" name="Freeform 92"/>
                <p:cNvSpPr>
                  <a:spLocks/>
                </p:cNvSpPr>
                <p:nvPr/>
              </p:nvSpPr>
              <p:spPr bwMode="auto">
                <a:xfrm>
                  <a:off x="2328863" y="2827338"/>
                  <a:ext cx="4763" cy="0"/>
                </a:xfrm>
                <a:custGeom>
                  <a:avLst/>
                  <a:gdLst>
                    <a:gd name="T0" fmla="*/ 0 w 1"/>
                    <a:gd name="T1" fmla="*/ 1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7" name="Freeform 93"/>
                <p:cNvSpPr>
                  <a:spLocks noEditPoints="1"/>
                </p:cNvSpPr>
                <p:nvPr/>
              </p:nvSpPr>
              <p:spPr bwMode="auto">
                <a:xfrm>
                  <a:off x="2338388" y="2497138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  <a:gd name="T5" fmla="*/ 0 h 1"/>
                    <a:gd name="T6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8" name="Freeform 94"/>
                <p:cNvSpPr>
                  <a:spLocks/>
                </p:cNvSpPr>
                <p:nvPr/>
              </p:nvSpPr>
              <p:spPr bwMode="auto">
                <a:xfrm>
                  <a:off x="2303463" y="2497138"/>
                  <a:ext cx="34925" cy="19050"/>
                </a:xfrm>
                <a:custGeom>
                  <a:avLst/>
                  <a:gdLst>
                    <a:gd name="T0" fmla="*/ 1 w 7"/>
                    <a:gd name="T1" fmla="*/ 0 h 4"/>
                    <a:gd name="T2" fmla="*/ 0 w 7"/>
                    <a:gd name="T3" fmla="*/ 0 h 4"/>
                    <a:gd name="T4" fmla="*/ 0 w 7"/>
                    <a:gd name="T5" fmla="*/ 4 h 4"/>
                    <a:gd name="T6" fmla="*/ 3 w 7"/>
                    <a:gd name="T7" fmla="*/ 4 h 4"/>
                    <a:gd name="T8" fmla="*/ 3 w 7"/>
                    <a:gd name="T9" fmla="*/ 0 h 4"/>
                    <a:gd name="T10" fmla="*/ 6 w 7"/>
                    <a:gd name="T11" fmla="*/ 0 h 4"/>
                    <a:gd name="T12" fmla="*/ 6 w 7"/>
                    <a:gd name="T13" fmla="*/ 0 h 4"/>
                    <a:gd name="T14" fmla="*/ 7 w 7"/>
                    <a:gd name="T15" fmla="*/ 0 h 4"/>
                    <a:gd name="T16" fmla="*/ 7 w 7"/>
                    <a:gd name="T17" fmla="*/ 0 h 4"/>
                    <a:gd name="T18" fmla="*/ 7 w 7"/>
                    <a:gd name="T19" fmla="*/ 0 h 4"/>
                    <a:gd name="T20" fmla="*/ 7 w 7"/>
                    <a:gd name="T21" fmla="*/ 0 h 4"/>
                    <a:gd name="T22" fmla="*/ 7 w 7"/>
                    <a:gd name="T23" fmla="*/ 0 h 4"/>
                    <a:gd name="T24" fmla="*/ 1 w 7"/>
                    <a:gd name="T2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" h="4">
                      <a:moveTo>
                        <a:pt x="1" y="0"/>
                      </a:moveTo>
                      <a:cubicBezTo>
                        <a:pt x="1" y="0"/>
                        <a:pt x="1" y="0"/>
                        <a:pt x="0" y="0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1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4" y="0"/>
                        <a:pt x="5" y="0"/>
                        <a:pt x="6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5" y="0"/>
                        <a:pt x="3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9" name="Freeform 95"/>
                <p:cNvSpPr>
                  <a:spLocks/>
                </p:cNvSpPr>
                <p:nvPr/>
              </p:nvSpPr>
              <p:spPr bwMode="auto">
                <a:xfrm>
                  <a:off x="2265363" y="2516188"/>
                  <a:ext cx="52388" cy="306388"/>
                </a:xfrm>
                <a:custGeom>
                  <a:avLst/>
                  <a:gdLst>
                    <a:gd name="T0" fmla="*/ 11 w 11"/>
                    <a:gd name="T1" fmla="*/ 0 h 63"/>
                    <a:gd name="T2" fmla="*/ 8 w 11"/>
                    <a:gd name="T3" fmla="*/ 0 h 63"/>
                    <a:gd name="T4" fmla="*/ 0 w 11"/>
                    <a:gd name="T5" fmla="*/ 61 h 63"/>
                    <a:gd name="T6" fmla="*/ 3 w 11"/>
                    <a:gd name="T7" fmla="*/ 62 h 63"/>
                    <a:gd name="T8" fmla="*/ 6 w 11"/>
                    <a:gd name="T9" fmla="*/ 63 h 63"/>
                    <a:gd name="T10" fmla="*/ 3 w 11"/>
                    <a:gd name="T11" fmla="*/ 62 h 63"/>
                    <a:gd name="T12" fmla="*/ 11 w 11"/>
                    <a:gd name="T13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3">
                      <a:moveTo>
                        <a:pt x="11" y="0"/>
                      </a:moveTo>
                      <a:cubicBezTo>
                        <a:pt x="10" y="0"/>
                        <a:pt x="9" y="0"/>
                        <a:pt x="8" y="0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1" y="62"/>
                        <a:pt x="2" y="62"/>
                        <a:pt x="3" y="62"/>
                      </a:cubicBezTo>
                      <a:cubicBezTo>
                        <a:pt x="4" y="62"/>
                        <a:pt x="5" y="63"/>
                        <a:pt x="6" y="63"/>
                      </a:cubicBezTo>
                      <a:cubicBezTo>
                        <a:pt x="5" y="63"/>
                        <a:pt x="4" y="62"/>
                        <a:pt x="3" y="62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0" name="Freeform 96"/>
                <p:cNvSpPr>
                  <a:spLocks noEditPoints="1"/>
                </p:cNvSpPr>
                <p:nvPr/>
              </p:nvSpPr>
              <p:spPr bwMode="auto">
                <a:xfrm>
                  <a:off x="2284413" y="2817813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1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1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1" name="Freeform 97"/>
                <p:cNvSpPr>
                  <a:spLocks/>
                </p:cNvSpPr>
                <p:nvPr/>
              </p:nvSpPr>
              <p:spPr bwMode="auto">
                <a:xfrm>
                  <a:off x="2279651" y="2817813"/>
                  <a:ext cx="19050" cy="4763"/>
                </a:xfrm>
                <a:custGeom>
                  <a:avLst/>
                  <a:gdLst>
                    <a:gd name="T0" fmla="*/ 0 w 4"/>
                    <a:gd name="T1" fmla="*/ 0 h 1"/>
                    <a:gd name="T2" fmla="*/ 1 w 4"/>
                    <a:gd name="T3" fmla="*/ 0 h 1"/>
                    <a:gd name="T4" fmla="*/ 1 w 4"/>
                    <a:gd name="T5" fmla="*/ 0 h 1"/>
                    <a:gd name="T6" fmla="*/ 1 w 4"/>
                    <a:gd name="T7" fmla="*/ 0 h 1"/>
                    <a:gd name="T8" fmla="*/ 4 w 4"/>
                    <a:gd name="T9" fmla="*/ 1 h 1"/>
                    <a:gd name="T10" fmla="*/ 3 w 4"/>
                    <a:gd name="T11" fmla="*/ 1 h 1"/>
                    <a:gd name="T12" fmla="*/ 0 w 4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1"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1"/>
                        <a:pt x="3" y="1"/>
                        <a:pt x="4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2" name="Freeform 98"/>
                <p:cNvSpPr>
                  <a:spLocks/>
                </p:cNvSpPr>
                <p:nvPr/>
              </p:nvSpPr>
              <p:spPr bwMode="auto">
                <a:xfrm>
                  <a:off x="2371726" y="2506663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1 w 4"/>
                    <a:gd name="T3" fmla="*/ 0 h 4"/>
                    <a:gd name="T4" fmla="*/ 0 w 4"/>
                    <a:gd name="T5" fmla="*/ 3 h 4"/>
                    <a:gd name="T6" fmla="*/ 2 w 4"/>
                    <a:gd name="T7" fmla="*/ 3 h 4"/>
                    <a:gd name="T8" fmla="*/ 3 w 4"/>
                    <a:gd name="T9" fmla="*/ 4 h 4"/>
                    <a:gd name="T10" fmla="*/ 4 w 4"/>
                    <a:gd name="T11" fmla="*/ 1 h 4"/>
                    <a:gd name="T12" fmla="*/ 1 w 4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2" y="3"/>
                        <a:pt x="2" y="3"/>
                      </a:cubicBezTo>
                      <a:cubicBezTo>
                        <a:pt x="3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2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3" name="Freeform 99"/>
                <p:cNvSpPr>
                  <a:spLocks/>
                </p:cNvSpPr>
                <p:nvPr/>
              </p:nvSpPr>
              <p:spPr bwMode="auto">
                <a:xfrm>
                  <a:off x="2381251" y="2520951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1 w 1"/>
                    <a:gd name="T5" fmla="*/ 1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4919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4" name="Freeform 100"/>
                <p:cNvSpPr>
                  <a:spLocks/>
                </p:cNvSpPr>
                <p:nvPr/>
              </p:nvSpPr>
              <p:spPr bwMode="auto">
                <a:xfrm>
                  <a:off x="2333626" y="2520951"/>
                  <a:ext cx="52388" cy="311150"/>
                </a:xfrm>
                <a:custGeom>
                  <a:avLst/>
                  <a:gdLst>
                    <a:gd name="T0" fmla="*/ 8 w 11"/>
                    <a:gd name="T1" fmla="*/ 0 h 64"/>
                    <a:gd name="T2" fmla="*/ 0 w 11"/>
                    <a:gd name="T3" fmla="*/ 63 h 64"/>
                    <a:gd name="T4" fmla="*/ 3 w 11"/>
                    <a:gd name="T5" fmla="*/ 64 h 64"/>
                    <a:gd name="T6" fmla="*/ 3 w 11"/>
                    <a:gd name="T7" fmla="*/ 64 h 64"/>
                    <a:gd name="T8" fmla="*/ 11 w 11"/>
                    <a:gd name="T9" fmla="*/ 1 h 64"/>
                    <a:gd name="T10" fmla="*/ 10 w 11"/>
                    <a:gd name="T11" fmla="*/ 0 h 64"/>
                    <a:gd name="T12" fmla="*/ 8 w 11"/>
                    <a:gd name="T13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1" y="63"/>
                        <a:pt x="2" y="64"/>
                        <a:pt x="3" y="64"/>
                      </a:cubicBezTo>
                      <a:cubicBezTo>
                        <a:pt x="3" y="64"/>
                        <a:pt x="3" y="64"/>
                        <a:pt x="3" y="64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1" y="1"/>
                        <a:pt x="11" y="1"/>
                        <a:pt x="10" y="0"/>
                      </a:cubicBezTo>
                      <a:cubicBezTo>
                        <a:pt x="10" y="0"/>
                        <a:pt x="9" y="0"/>
                        <a:pt x="8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5" name="Freeform 101"/>
                <p:cNvSpPr>
                  <a:spLocks/>
                </p:cNvSpPr>
                <p:nvPr/>
              </p:nvSpPr>
              <p:spPr bwMode="auto">
                <a:xfrm>
                  <a:off x="2347913" y="28321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6" name="Oval 102"/>
                <p:cNvSpPr>
                  <a:spLocks noChangeArrowheads="1"/>
                </p:cNvSpPr>
                <p:nvPr/>
              </p:nvSpPr>
              <p:spPr bwMode="auto">
                <a:xfrm>
                  <a:off x="2347913" y="2832101"/>
                  <a:ext cx="1588" cy="1588"/>
                </a:xfrm>
                <a:prstGeom prst="ellipse">
                  <a:avLst/>
                </a:pr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7" name="Freeform 103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8" name="Freeform 104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9" name="Freeform 105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23813" cy="0"/>
                </a:xfrm>
                <a:custGeom>
                  <a:avLst/>
                  <a:gdLst>
                    <a:gd name="T0" fmla="*/ 5 w 5"/>
                    <a:gd name="T1" fmla="*/ 5 w 5"/>
                    <a:gd name="T2" fmla="*/ 5 w 5"/>
                    <a:gd name="T3" fmla="*/ 5 w 5"/>
                    <a:gd name="T4" fmla="*/ 5 w 5"/>
                    <a:gd name="T5" fmla="*/ 5 w 5"/>
                    <a:gd name="T6" fmla="*/ 1 w 5"/>
                    <a:gd name="T7" fmla="*/ 1 w 5"/>
                    <a:gd name="T8" fmla="*/ 1 w 5"/>
                    <a:gd name="T9" fmla="*/ 0 w 5"/>
                    <a:gd name="T10" fmla="*/ 0 w 5"/>
                    <a:gd name="T11" fmla="*/ 0 w 5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  <a:cxn ang="0">
                      <a:pos x="T10" y="0"/>
                    </a:cxn>
                    <a:cxn ang="0">
                      <a:pos x="T11" y="0"/>
                    </a:cxn>
                  </a:cxnLst>
                  <a:rect l="0" t="0" r="r" b="b"/>
                  <a:pathLst>
                    <a:path w="5">
                      <a:moveTo>
                        <a:pt x="5" y="0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0" name="Freeform 10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1" name="Freeform 107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15875" cy="0"/>
                </a:xfrm>
                <a:custGeom>
                  <a:avLst/>
                  <a:gdLst>
                    <a:gd name="T0" fmla="*/ 0 w 3"/>
                    <a:gd name="T1" fmla="*/ 0 w 3"/>
                    <a:gd name="T2" fmla="*/ 0 w 3"/>
                    <a:gd name="T3" fmla="*/ 0 w 3"/>
                    <a:gd name="T4" fmla="*/ 3 w 3"/>
                    <a:gd name="T5" fmla="*/ 0 w 3"/>
                    <a:gd name="T6" fmla="*/ 0 w 3"/>
                    <a:gd name="T7" fmla="*/ 0 w 3"/>
                    <a:gd name="T8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2" name="Freeform 10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3" name="Freeform 109"/>
                <p:cNvSpPr>
                  <a:spLocks/>
                </p:cNvSpPr>
                <p:nvPr/>
              </p:nvSpPr>
              <p:spPr bwMode="auto">
                <a:xfrm>
                  <a:off x="2317751" y="2497138"/>
                  <a:ext cx="15875" cy="19050"/>
                </a:xfrm>
                <a:custGeom>
                  <a:avLst/>
                  <a:gdLst>
                    <a:gd name="T0" fmla="*/ 0 w 3"/>
                    <a:gd name="T1" fmla="*/ 0 h 4"/>
                    <a:gd name="T2" fmla="*/ 0 w 3"/>
                    <a:gd name="T3" fmla="*/ 4 h 4"/>
                    <a:gd name="T4" fmla="*/ 1 w 3"/>
                    <a:gd name="T5" fmla="*/ 4 h 4"/>
                    <a:gd name="T6" fmla="*/ 3 w 3"/>
                    <a:gd name="T7" fmla="*/ 4 h 4"/>
                    <a:gd name="T8" fmla="*/ 3 w 3"/>
                    <a:gd name="T9" fmla="*/ 0 h 4"/>
                    <a:gd name="T10" fmla="*/ 0 w 3"/>
                    <a:gd name="T11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4"/>
                        <a:pt x="1" y="4"/>
                        <a:pt x="1" y="4"/>
                      </a:cubicBezTo>
                      <a:cubicBezTo>
                        <a:pt x="2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4" name="Freeform 110"/>
                <p:cNvSpPr>
                  <a:spLocks/>
                </p:cNvSpPr>
                <p:nvPr/>
              </p:nvSpPr>
              <p:spPr bwMode="auto">
                <a:xfrm>
                  <a:off x="2279651" y="2516188"/>
                  <a:ext cx="53975" cy="306388"/>
                </a:xfrm>
                <a:custGeom>
                  <a:avLst/>
                  <a:gdLst>
                    <a:gd name="T0" fmla="*/ 9 w 11"/>
                    <a:gd name="T1" fmla="*/ 0 h 63"/>
                    <a:gd name="T2" fmla="*/ 8 w 11"/>
                    <a:gd name="T3" fmla="*/ 0 h 63"/>
                    <a:gd name="T4" fmla="*/ 0 w 11"/>
                    <a:gd name="T5" fmla="*/ 62 h 63"/>
                    <a:gd name="T6" fmla="*/ 3 w 11"/>
                    <a:gd name="T7" fmla="*/ 63 h 63"/>
                    <a:gd name="T8" fmla="*/ 4 w 11"/>
                    <a:gd name="T9" fmla="*/ 63 h 63"/>
                    <a:gd name="T10" fmla="*/ 3 w 11"/>
                    <a:gd name="T11" fmla="*/ 63 h 63"/>
                    <a:gd name="T12" fmla="*/ 3 w 11"/>
                    <a:gd name="T13" fmla="*/ 63 h 63"/>
                    <a:gd name="T14" fmla="*/ 11 w 11"/>
                    <a:gd name="T15" fmla="*/ 0 h 63"/>
                    <a:gd name="T16" fmla="*/ 9 w 11"/>
                    <a:gd name="T17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63">
                      <a:moveTo>
                        <a:pt x="9" y="0"/>
                      </a:moveTo>
                      <a:cubicBezTo>
                        <a:pt x="9" y="0"/>
                        <a:pt x="8" y="0"/>
                        <a:pt x="8" y="0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1" y="62"/>
                        <a:pt x="2" y="63"/>
                        <a:pt x="3" y="63"/>
                      </a:cubicBezTo>
                      <a:cubicBezTo>
                        <a:pt x="3" y="63"/>
                        <a:pt x="3" y="63"/>
                        <a:pt x="4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5" name="Freeform 11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6" name="Oval 112"/>
                <p:cNvSpPr>
                  <a:spLocks noChangeArrowheads="1"/>
                </p:cNvSpPr>
                <p:nvPr/>
              </p:nvSpPr>
              <p:spPr bwMode="auto">
                <a:xfrm>
                  <a:off x="2293938" y="2822576"/>
                  <a:ext cx="4763" cy="1588"/>
                </a:xfrm>
                <a:prstGeom prst="ellipse">
                  <a:avLst/>
                </a:pr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7" name="Freeform 113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1 w 2"/>
                    <a:gd name="T3" fmla="*/ 1 h 1"/>
                    <a:gd name="T4" fmla="*/ 2 w 2"/>
                    <a:gd name="T5" fmla="*/ 1 h 1"/>
                    <a:gd name="T6" fmla="*/ 1 w 2"/>
                    <a:gd name="T7" fmla="*/ 1 h 1"/>
                    <a:gd name="T8" fmla="*/ 1 w 2"/>
                    <a:gd name="T9" fmla="*/ 1 h 1"/>
                    <a:gd name="T10" fmla="*/ 0 w 2"/>
                    <a:gd name="T11" fmla="*/ 1 h 1"/>
                    <a:gd name="T12" fmla="*/ 0 w 2"/>
                    <a:gd name="T13" fmla="*/ 1 h 1"/>
                    <a:gd name="T14" fmla="*/ 0 w 2"/>
                    <a:gd name="T15" fmla="*/ 1 h 1"/>
                    <a:gd name="T16" fmla="*/ 0 w 2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2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8" name="Freeform 114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0 w 1"/>
                    <a:gd name="T5" fmla="*/ 0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" y="1"/>
                        <a:pt x="0" y="1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9" name="Freeform 11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0" name="Freeform 116"/>
                <p:cNvSpPr>
                  <a:spLocks/>
                </p:cNvSpPr>
                <p:nvPr/>
              </p:nvSpPr>
              <p:spPr bwMode="auto">
                <a:xfrm>
                  <a:off x="2357438" y="2501901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0 w 4"/>
                    <a:gd name="T3" fmla="*/ 3 h 4"/>
                    <a:gd name="T4" fmla="*/ 1 w 4"/>
                    <a:gd name="T5" fmla="*/ 3 h 4"/>
                    <a:gd name="T6" fmla="*/ 3 w 4"/>
                    <a:gd name="T7" fmla="*/ 4 h 4"/>
                    <a:gd name="T8" fmla="*/ 4 w 4"/>
                    <a:gd name="T9" fmla="*/ 1 h 4"/>
                    <a:gd name="T10" fmla="*/ 4 w 4"/>
                    <a:gd name="T11" fmla="*/ 1 h 4"/>
                    <a:gd name="T12" fmla="*/ 1 w 4"/>
                    <a:gd name="T13" fmla="*/ 0 h 4"/>
                    <a:gd name="T14" fmla="*/ 1 w 4"/>
                    <a:gd name="T15" fmla="*/ 0 h 4"/>
                    <a:gd name="T16" fmla="*/ 1 w 4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2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1" name="Freeform 117"/>
                <p:cNvSpPr>
                  <a:spLocks/>
                </p:cNvSpPr>
                <p:nvPr/>
              </p:nvSpPr>
              <p:spPr bwMode="auto">
                <a:xfrm>
                  <a:off x="2312988" y="2516188"/>
                  <a:ext cx="58738" cy="311150"/>
                </a:xfrm>
                <a:custGeom>
                  <a:avLst/>
                  <a:gdLst>
                    <a:gd name="T0" fmla="*/ 9 w 12"/>
                    <a:gd name="T1" fmla="*/ 0 h 64"/>
                    <a:gd name="T2" fmla="*/ 1 w 12"/>
                    <a:gd name="T3" fmla="*/ 64 h 64"/>
                    <a:gd name="T4" fmla="*/ 0 w 12"/>
                    <a:gd name="T5" fmla="*/ 64 h 64"/>
                    <a:gd name="T6" fmla="*/ 0 w 12"/>
                    <a:gd name="T7" fmla="*/ 64 h 64"/>
                    <a:gd name="T8" fmla="*/ 0 w 12"/>
                    <a:gd name="T9" fmla="*/ 64 h 64"/>
                    <a:gd name="T10" fmla="*/ 0 w 12"/>
                    <a:gd name="T11" fmla="*/ 64 h 64"/>
                    <a:gd name="T12" fmla="*/ 3 w 12"/>
                    <a:gd name="T13" fmla="*/ 64 h 64"/>
                    <a:gd name="T14" fmla="*/ 4 w 12"/>
                    <a:gd name="T15" fmla="*/ 64 h 64"/>
                    <a:gd name="T16" fmla="*/ 12 w 12"/>
                    <a:gd name="T17" fmla="*/ 1 h 64"/>
                    <a:gd name="T18" fmla="*/ 10 w 12"/>
                    <a:gd name="T19" fmla="*/ 0 h 64"/>
                    <a:gd name="T20" fmla="*/ 9 w 12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" h="64">
                      <a:moveTo>
                        <a:pt x="9" y="0"/>
                      </a:moveTo>
                      <a:cubicBezTo>
                        <a:pt x="1" y="64"/>
                        <a:pt x="1" y="64"/>
                        <a:pt x="1" y="64"/>
                      </a:cubicBezTo>
                      <a:cubicBezTo>
                        <a:pt x="1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1" y="64"/>
                        <a:pt x="2" y="64"/>
                        <a:pt x="3" y="64"/>
                      </a:cubicBezTo>
                      <a:cubicBezTo>
                        <a:pt x="4" y="64"/>
                        <a:pt x="4" y="64"/>
                        <a:pt x="4" y="64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1"/>
                        <a:pt x="11" y="0"/>
                        <a:pt x="10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2" name="Freeform 11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3" name="Freeform 119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4" name="Freeform 120"/>
                <p:cNvSpPr>
                  <a:spLocks/>
                </p:cNvSpPr>
                <p:nvPr/>
              </p:nvSpPr>
              <p:spPr bwMode="auto">
                <a:xfrm>
                  <a:off x="2343151" y="2501901"/>
                  <a:ext cx="19050" cy="0"/>
                </a:xfrm>
                <a:custGeom>
                  <a:avLst/>
                  <a:gdLst>
                    <a:gd name="T0" fmla="*/ 0 w 4"/>
                    <a:gd name="T1" fmla="*/ 4 w 4"/>
                    <a:gd name="T2" fmla="*/ 4 w 4"/>
                    <a:gd name="T3" fmla="*/ 4 w 4"/>
                    <a:gd name="T4" fmla="*/ 1 w 4"/>
                    <a:gd name="T5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cubicBezTo>
                        <a:pt x="1" y="0"/>
                        <a:pt x="2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0"/>
                        <a:pt x="2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9693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5" name="Freeform 121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28575" cy="19050"/>
                </a:xfrm>
                <a:custGeom>
                  <a:avLst/>
                  <a:gdLst>
                    <a:gd name="T0" fmla="*/ 0 w 6"/>
                    <a:gd name="T1" fmla="*/ 0 h 4"/>
                    <a:gd name="T2" fmla="*/ 0 w 6"/>
                    <a:gd name="T3" fmla="*/ 4 h 4"/>
                    <a:gd name="T4" fmla="*/ 5 w 6"/>
                    <a:gd name="T5" fmla="*/ 4 h 4"/>
                    <a:gd name="T6" fmla="*/ 6 w 6"/>
                    <a:gd name="T7" fmla="*/ 1 h 4"/>
                    <a:gd name="T8" fmla="*/ 2 w 6"/>
                    <a:gd name="T9" fmla="*/ 1 h 4"/>
                    <a:gd name="T10" fmla="*/ 1 w 6"/>
                    <a:gd name="T11" fmla="*/ 0 h 4"/>
                    <a:gd name="T12" fmla="*/ 0 w 6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2" y="4"/>
                        <a:pt x="4" y="4"/>
                        <a:pt x="5" y="4"/>
                      </a:cubicBezTo>
                      <a:cubicBezTo>
                        <a:pt x="6" y="1"/>
                        <a:pt x="6" y="1"/>
                        <a:pt x="6" y="1"/>
                      </a:cubicBezTo>
                      <a:cubicBezTo>
                        <a:pt x="4" y="1"/>
                        <a:pt x="3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2C0C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" name="Freeform 122"/>
                <p:cNvSpPr>
                  <a:spLocks/>
                </p:cNvSpPr>
                <p:nvPr/>
              </p:nvSpPr>
              <p:spPr bwMode="auto">
                <a:xfrm>
                  <a:off x="2293938" y="2516188"/>
                  <a:ext cx="63500" cy="311150"/>
                </a:xfrm>
                <a:custGeom>
                  <a:avLst/>
                  <a:gdLst>
                    <a:gd name="T0" fmla="*/ 8 w 13"/>
                    <a:gd name="T1" fmla="*/ 0 h 64"/>
                    <a:gd name="T2" fmla="*/ 0 w 13"/>
                    <a:gd name="T3" fmla="*/ 63 h 64"/>
                    <a:gd name="T4" fmla="*/ 0 w 13"/>
                    <a:gd name="T5" fmla="*/ 63 h 64"/>
                    <a:gd name="T6" fmla="*/ 1 w 13"/>
                    <a:gd name="T7" fmla="*/ 63 h 64"/>
                    <a:gd name="T8" fmla="*/ 2 w 13"/>
                    <a:gd name="T9" fmla="*/ 63 h 64"/>
                    <a:gd name="T10" fmla="*/ 2 w 13"/>
                    <a:gd name="T11" fmla="*/ 63 h 64"/>
                    <a:gd name="T12" fmla="*/ 2 w 13"/>
                    <a:gd name="T13" fmla="*/ 63 h 64"/>
                    <a:gd name="T14" fmla="*/ 4 w 13"/>
                    <a:gd name="T15" fmla="*/ 64 h 64"/>
                    <a:gd name="T16" fmla="*/ 5 w 13"/>
                    <a:gd name="T17" fmla="*/ 64 h 64"/>
                    <a:gd name="T18" fmla="*/ 13 w 13"/>
                    <a:gd name="T19" fmla="*/ 0 h 64"/>
                    <a:gd name="T20" fmla="*/ 8 w 13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1" y="63"/>
                      </a:cubicBezTo>
                      <a:cubicBezTo>
                        <a:pt x="1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3" y="63"/>
                        <a:pt x="3" y="64"/>
                        <a:pt x="4" y="64"/>
                      </a:cubicBezTo>
                      <a:cubicBezTo>
                        <a:pt x="4" y="64"/>
                        <a:pt x="5" y="64"/>
                        <a:pt x="5" y="64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2" y="0"/>
                        <a:pt x="10" y="0"/>
                        <a:pt x="8" y="0"/>
                      </a:cubicBezTo>
                    </a:path>
                  </a:pathLst>
                </a:custGeom>
                <a:solidFill>
                  <a:srgbClr val="F5EA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" name="Freeform 123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2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2 w 3"/>
                    <a:gd name="T7" fmla="*/ 0 h 1"/>
                    <a:gd name="T8" fmla="*/ 0 w 3"/>
                    <a:gd name="T9" fmla="*/ 0 h 1"/>
                    <a:gd name="T10" fmla="*/ 0 w 3"/>
                    <a:gd name="T11" fmla="*/ 0 h 1"/>
                    <a:gd name="T12" fmla="*/ 1 w 3"/>
                    <a:gd name="T13" fmla="*/ 0 h 1"/>
                    <a:gd name="T14" fmla="*/ 1 w 3"/>
                    <a:gd name="T15" fmla="*/ 0 h 1"/>
                    <a:gd name="T16" fmla="*/ 0 w 3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EC5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" name="Freeform 124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1 w 3"/>
                    <a:gd name="T1" fmla="*/ 0 h 1"/>
                    <a:gd name="T2" fmla="*/ 2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1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1 w 3"/>
                    <a:gd name="T15" fmla="*/ 0 h 1"/>
                    <a:gd name="T16" fmla="*/ 1 w 3"/>
                    <a:gd name="T17" fmla="*/ 0 h 1"/>
                    <a:gd name="T18" fmla="*/ 0 w 3"/>
                    <a:gd name="T1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1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2CDC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  <p:sp>
          <p:nvSpPr>
            <p:cNvPr id="12" name="Rectangle 11"/>
            <p:cNvSpPr/>
            <p:nvPr/>
          </p:nvSpPr>
          <p:spPr bwMode="auto">
            <a:xfrm>
              <a:off x="3542839" y="1754690"/>
              <a:ext cx="5507908" cy="300803"/>
            </a:xfrm>
            <a:prstGeom prst="rect">
              <a:avLst/>
            </a:prstGeom>
            <a:solidFill>
              <a:srgbClr val="0070C0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30000"/>
                </a:spcAft>
                <a:buClr>
                  <a:schemeClr val="accent1"/>
                </a:buClr>
              </a:pPr>
              <a:endParaRPr lang="en-GB" sz="2100">
                <a:latin typeface="Arial" pitchFamily="34" charset="0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3599254" y="1773745"/>
            <a:ext cx="5376272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5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Service Level Management |Portfolio Overview | DE </a:t>
            </a:r>
            <a:endParaRPr lang="en-GB" sz="15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Flowchart: Multidocument 3"/>
          <p:cNvSpPr/>
          <p:nvPr/>
        </p:nvSpPr>
        <p:spPr>
          <a:xfrm>
            <a:off x="4583038" y="2709714"/>
            <a:ext cx="1152128" cy="936104"/>
          </a:xfrm>
          <a:prstGeom prst="flowChartMultidocumen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 smtClean="0"/>
          </a:p>
        </p:txBody>
      </p:sp>
      <p:sp>
        <p:nvSpPr>
          <p:cNvPr id="122" name="Flowchart: Multidocument 121"/>
          <p:cNvSpPr/>
          <p:nvPr/>
        </p:nvSpPr>
        <p:spPr>
          <a:xfrm>
            <a:off x="7043161" y="2709714"/>
            <a:ext cx="1152128" cy="936104"/>
          </a:xfrm>
          <a:prstGeom prst="flowChartMultidocumen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 smtClean="0"/>
          </a:p>
        </p:txBody>
      </p:sp>
      <p:sp>
        <p:nvSpPr>
          <p:cNvPr id="123" name="Flowchart: Multidocument 122"/>
          <p:cNvSpPr/>
          <p:nvPr/>
        </p:nvSpPr>
        <p:spPr>
          <a:xfrm>
            <a:off x="7031310" y="4149874"/>
            <a:ext cx="1152128" cy="936104"/>
          </a:xfrm>
          <a:prstGeom prst="flowChartMultidocumen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 smtClean="0"/>
          </a:p>
        </p:txBody>
      </p:sp>
      <p:sp>
        <p:nvSpPr>
          <p:cNvPr id="8" name="Rectangle 7"/>
          <p:cNvSpPr/>
          <p:nvPr/>
        </p:nvSpPr>
        <p:spPr>
          <a:xfrm>
            <a:off x="4427171" y="3645818"/>
            <a:ext cx="14638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 smtClean="0"/>
              <a:t>Service Package 1</a:t>
            </a:r>
            <a:endParaRPr lang="en-GB" sz="1200" dirty="0"/>
          </a:p>
        </p:txBody>
      </p:sp>
      <p:sp>
        <p:nvSpPr>
          <p:cNvPr id="124" name="Rectangle 123"/>
          <p:cNvSpPr/>
          <p:nvPr/>
        </p:nvSpPr>
        <p:spPr>
          <a:xfrm>
            <a:off x="6887294" y="3645818"/>
            <a:ext cx="14638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 smtClean="0"/>
              <a:t>Service Package 2</a:t>
            </a:r>
            <a:endParaRPr lang="en-GB" sz="1200" dirty="0"/>
          </a:p>
        </p:txBody>
      </p:sp>
      <p:sp>
        <p:nvSpPr>
          <p:cNvPr id="125" name="Rectangle 124"/>
          <p:cNvSpPr/>
          <p:nvPr/>
        </p:nvSpPr>
        <p:spPr>
          <a:xfrm>
            <a:off x="6887294" y="5085978"/>
            <a:ext cx="14638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 smtClean="0"/>
              <a:t>Service Package n</a:t>
            </a:r>
            <a:endParaRPr lang="en-GB" sz="1200" dirty="0"/>
          </a:p>
        </p:txBody>
      </p:sp>
      <p:sp>
        <p:nvSpPr>
          <p:cNvPr id="126" name="Flowchart: Multidocument 125"/>
          <p:cNvSpPr/>
          <p:nvPr/>
        </p:nvSpPr>
        <p:spPr>
          <a:xfrm>
            <a:off x="4571187" y="4149874"/>
            <a:ext cx="1152128" cy="936104"/>
          </a:xfrm>
          <a:prstGeom prst="flowChartMultidocumen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 smtClean="0"/>
          </a:p>
        </p:txBody>
      </p:sp>
      <p:sp>
        <p:nvSpPr>
          <p:cNvPr id="127" name="Rectangle 126"/>
          <p:cNvSpPr/>
          <p:nvPr/>
        </p:nvSpPr>
        <p:spPr>
          <a:xfrm>
            <a:off x="4427171" y="5085978"/>
            <a:ext cx="14638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 smtClean="0"/>
              <a:t>Service Package 3</a:t>
            </a:r>
            <a:endParaRPr lang="en-GB" sz="1200" dirty="0"/>
          </a:p>
        </p:txBody>
      </p:sp>
      <p:grpSp>
        <p:nvGrpSpPr>
          <p:cNvPr id="135" name="Group 239"/>
          <p:cNvGrpSpPr>
            <a:grpSpLocks/>
          </p:cNvGrpSpPr>
          <p:nvPr/>
        </p:nvGrpSpPr>
        <p:grpSpPr bwMode="auto">
          <a:xfrm>
            <a:off x="8175622" y="7220228"/>
            <a:ext cx="3659314" cy="4877929"/>
            <a:chOff x="96" y="1859"/>
            <a:chExt cx="2136" cy="2350"/>
          </a:xfrm>
        </p:grpSpPr>
        <p:sp>
          <p:nvSpPr>
            <p:cNvPr id="136" name="Freeform 240"/>
            <p:cNvSpPr>
              <a:spLocks/>
            </p:cNvSpPr>
            <p:nvPr/>
          </p:nvSpPr>
          <p:spPr bwMode="auto">
            <a:xfrm>
              <a:off x="96" y="1859"/>
              <a:ext cx="2136" cy="2269"/>
            </a:xfrm>
            <a:custGeom>
              <a:avLst/>
              <a:gdLst>
                <a:gd name="T0" fmla="*/ 2136 w 2136"/>
                <a:gd name="T1" fmla="*/ 2253 h 2269"/>
                <a:gd name="T2" fmla="*/ 1992 w 2136"/>
                <a:gd name="T3" fmla="*/ 1797 h 2269"/>
                <a:gd name="T4" fmla="*/ 1712 w 2136"/>
                <a:gd name="T5" fmla="*/ 1709 h 2269"/>
                <a:gd name="T6" fmla="*/ 1488 w 2136"/>
                <a:gd name="T7" fmla="*/ 1501 h 2269"/>
                <a:gd name="T8" fmla="*/ 1240 w 2136"/>
                <a:gd name="T9" fmla="*/ 1485 h 2269"/>
                <a:gd name="T10" fmla="*/ 976 w 2136"/>
                <a:gd name="T11" fmla="*/ 1333 h 2269"/>
                <a:gd name="T12" fmla="*/ 752 w 2136"/>
                <a:gd name="T13" fmla="*/ 1333 h 2269"/>
                <a:gd name="T14" fmla="*/ 680 w 2136"/>
                <a:gd name="T15" fmla="*/ 1405 h 2269"/>
                <a:gd name="T16" fmla="*/ 504 w 2136"/>
                <a:gd name="T17" fmla="*/ 1165 h 2269"/>
                <a:gd name="T18" fmla="*/ 480 w 2136"/>
                <a:gd name="T19" fmla="*/ 813 h 2269"/>
                <a:gd name="T20" fmla="*/ 392 w 2136"/>
                <a:gd name="T21" fmla="*/ 573 h 2269"/>
                <a:gd name="T22" fmla="*/ 400 w 2136"/>
                <a:gd name="T23" fmla="*/ 349 h 2269"/>
                <a:gd name="T24" fmla="*/ 304 w 2136"/>
                <a:gd name="T25" fmla="*/ 53 h 2269"/>
                <a:gd name="T26" fmla="*/ 152 w 2136"/>
                <a:gd name="T27" fmla="*/ 29 h 2269"/>
                <a:gd name="T28" fmla="*/ 48 w 2136"/>
                <a:gd name="T29" fmla="*/ 165 h 2269"/>
                <a:gd name="T30" fmla="*/ 8 w 2136"/>
                <a:gd name="T31" fmla="*/ 813 h 2269"/>
                <a:gd name="T32" fmla="*/ 96 w 2136"/>
                <a:gd name="T33" fmla="*/ 1349 h 2269"/>
                <a:gd name="T34" fmla="*/ 144 w 2136"/>
                <a:gd name="T35" fmla="*/ 1885 h 2269"/>
                <a:gd name="T36" fmla="*/ 144 w 2136"/>
                <a:gd name="T37" fmla="*/ 2269 h 2269"/>
                <a:gd name="T38" fmla="*/ 2136 w 2136"/>
                <a:gd name="T39" fmla="*/ 2253 h 2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136" h="2269">
                  <a:moveTo>
                    <a:pt x="2136" y="2253"/>
                  </a:moveTo>
                  <a:cubicBezTo>
                    <a:pt x="2099" y="2070"/>
                    <a:pt x="2063" y="1888"/>
                    <a:pt x="1992" y="1797"/>
                  </a:cubicBezTo>
                  <a:cubicBezTo>
                    <a:pt x="1921" y="1706"/>
                    <a:pt x="1796" y="1758"/>
                    <a:pt x="1712" y="1709"/>
                  </a:cubicBezTo>
                  <a:cubicBezTo>
                    <a:pt x="1628" y="1660"/>
                    <a:pt x="1567" y="1538"/>
                    <a:pt x="1488" y="1501"/>
                  </a:cubicBezTo>
                  <a:cubicBezTo>
                    <a:pt x="1409" y="1464"/>
                    <a:pt x="1325" y="1513"/>
                    <a:pt x="1240" y="1485"/>
                  </a:cubicBezTo>
                  <a:cubicBezTo>
                    <a:pt x="1155" y="1457"/>
                    <a:pt x="1057" y="1358"/>
                    <a:pt x="976" y="1333"/>
                  </a:cubicBezTo>
                  <a:cubicBezTo>
                    <a:pt x="895" y="1308"/>
                    <a:pt x="801" y="1321"/>
                    <a:pt x="752" y="1333"/>
                  </a:cubicBezTo>
                  <a:cubicBezTo>
                    <a:pt x="703" y="1345"/>
                    <a:pt x="721" y="1433"/>
                    <a:pt x="680" y="1405"/>
                  </a:cubicBezTo>
                  <a:cubicBezTo>
                    <a:pt x="639" y="1377"/>
                    <a:pt x="537" y="1264"/>
                    <a:pt x="504" y="1165"/>
                  </a:cubicBezTo>
                  <a:cubicBezTo>
                    <a:pt x="471" y="1066"/>
                    <a:pt x="499" y="912"/>
                    <a:pt x="480" y="813"/>
                  </a:cubicBezTo>
                  <a:cubicBezTo>
                    <a:pt x="461" y="714"/>
                    <a:pt x="405" y="650"/>
                    <a:pt x="392" y="573"/>
                  </a:cubicBezTo>
                  <a:cubicBezTo>
                    <a:pt x="379" y="496"/>
                    <a:pt x="415" y="436"/>
                    <a:pt x="400" y="349"/>
                  </a:cubicBezTo>
                  <a:cubicBezTo>
                    <a:pt x="385" y="262"/>
                    <a:pt x="345" y="106"/>
                    <a:pt x="304" y="53"/>
                  </a:cubicBezTo>
                  <a:cubicBezTo>
                    <a:pt x="263" y="0"/>
                    <a:pt x="195" y="10"/>
                    <a:pt x="152" y="29"/>
                  </a:cubicBezTo>
                  <a:cubicBezTo>
                    <a:pt x="109" y="48"/>
                    <a:pt x="72" y="34"/>
                    <a:pt x="48" y="165"/>
                  </a:cubicBezTo>
                  <a:cubicBezTo>
                    <a:pt x="24" y="296"/>
                    <a:pt x="0" y="616"/>
                    <a:pt x="8" y="813"/>
                  </a:cubicBezTo>
                  <a:cubicBezTo>
                    <a:pt x="16" y="1010"/>
                    <a:pt x="73" y="1170"/>
                    <a:pt x="96" y="1349"/>
                  </a:cubicBezTo>
                  <a:cubicBezTo>
                    <a:pt x="119" y="1528"/>
                    <a:pt x="136" y="1732"/>
                    <a:pt x="144" y="1885"/>
                  </a:cubicBezTo>
                  <a:cubicBezTo>
                    <a:pt x="152" y="2038"/>
                    <a:pt x="144" y="2205"/>
                    <a:pt x="144" y="2269"/>
                  </a:cubicBezTo>
                  <a:cubicBezTo>
                    <a:pt x="144" y="2269"/>
                    <a:pt x="2136" y="2253"/>
                    <a:pt x="2136" y="2253"/>
                  </a:cubicBezTo>
                  <a:close/>
                </a:path>
              </a:pathLst>
            </a:custGeom>
            <a:solidFill>
              <a:srgbClr val="D6A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37" name="Group 241"/>
            <p:cNvGrpSpPr>
              <a:grpSpLocks/>
            </p:cNvGrpSpPr>
            <p:nvPr/>
          </p:nvGrpSpPr>
          <p:grpSpPr bwMode="auto">
            <a:xfrm>
              <a:off x="159" y="1880"/>
              <a:ext cx="1865" cy="2329"/>
              <a:chOff x="159" y="1880"/>
              <a:chExt cx="1865" cy="2329"/>
            </a:xfrm>
          </p:grpSpPr>
          <p:sp>
            <p:nvSpPr>
              <p:cNvPr id="139" name="Freeform 242"/>
              <p:cNvSpPr>
                <a:spLocks/>
              </p:cNvSpPr>
              <p:nvPr/>
            </p:nvSpPr>
            <p:spPr bwMode="auto">
              <a:xfrm>
                <a:off x="284" y="2599"/>
                <a:ext cx="1740" cy="1610"/>
              </a:xfrm>
              <a:custGeom>
                <a:avLst/>
                <a:gdLst>
                  <a:gd name="T0" fmla="*/ 908 w 1740"/>
                  <a:gd name="T1" fmla="*/ 1513 h 1610"/>
                  <a:gd name="T2" fmla="*/ 876 w 1740"/>
                  <a:gd name="T3" fmla="*/ 1049 h 1610"/>
                  <a:gd name="T4" fmla="*/ 1012 w 1740"/>
                  <a:gd name="T5" fmla="*/ 1217 h 1610"/>
                  <a:gd name="T6" fmla="*/ 1012 w 1740"/>
                  <a:gd name="T7" fmla="*/ 1545 h 1610"/>
                  <a:gd name="T8" fmla="*/ 1228 w 1740"/>
                  <a:gd name="T9" fmla="*/ 1545 h 1610"/>
                  <a:gd name="T10" fmla="*/ 1356 w 1740"/>
                  <a:gd name="T11" fmla="*/ 1153 h 1610"/>
                  <a:gd name="T12" fmla="*/ 1548 w 1740"/>
                  <a:gd name="T13" fmla="*/ 1329 h 1610"/>
                  <a:gd name="T14" fmla="*/ 1636 w 1740"/>
                  <a:gd name="T15" fmla="*/ 1177 h 1610"/>
                  <a:gd name="T16" fmla="*/ 1732 w 1740"/>
                  <a:gd name="T17" fmla="*/ 1113 h 1610"/>
                  <a:gd name="T18" fmla="*/ 1588 w 1740"/>
                  <a:gd name="T19" fmla="*/ 1113 h 1610"/>
                  <a:gd name="T20" fmla="*/ 1546 w 1740"/>
                  <a:gd name="T21" fmla="*/ 1328 h 1610"/>
                  <a:gd name="T22" fmla="*/ 1357 w 1740"/>
                  <a:gd name="T23" fmla="*/ 1151 h 1610"/>
                  <a:gd name="T24" fmla="*/ 1372 w 1740"/>
                  <a:gd name="T25" fmla="*/ 905 h 1610"/>
                  <a:gd name="T26" fmla="*/ 1188 w 1740"/>
                  <a:gd name="T27" fmla="*/ 801 h 1610"/>
                  <a:gd name="T28" fmla="*/ 1084 w 1740"/>
                  <a:gd name="T29" fmla="*/ 1025 h 1610"/>
                  <a:gd name="T30" fmla="*/ 796 w 1740"/>
                  <a:gd name="T31" fmla="*/ 673 h 1610"/>
                  <a:gd name="T32" fmla="*/ 564 w 1740"/>
                  <a:gd name="T33" fmla="*/ 697 h 1610"/>
                  <a:gd name="T34" fmla="*/ 412 w 1740"/>
                  <a:gd name="T35" fmla="*/ 889 h 1610"/>
                  <a:gd name="T36" fmla="*/ 196 w 1740"/>
                  <a:gd name="T37" fmla="*/ 745 h 1610"/>
                  <a:gd name="T38" fmla="*/ 164 w 1740"/>
                  <a:gd name="T39" fmla="*/ 353 h 1610"/>
                  <a:gd name="T40" fmla="*/ 100 w 1740"/>
                  <a:gd name="T41" fmla="*/ 25 h 1610"/>
                  <a:gd name="T42" fmla="*/ 84 w 1740"/>
                  <a:gd name="T43" fmla="*/ 201 h 1610"/>
                  <a:gd name="T44" fmla="*/ 84 w 1740"/>
                  <a:gd name="T45" fmla="*/ 793 h 1610"/>
                  <a:gd name="T46" fmla="*/ 12 w 1740"/>
                  <a:gd name="T47" fmla="*/ 1321 h 1610"/>
                  <a:gd name="T48" fmla="*/ 12 w 1740"/>
                  <a:gd name="T49" fmla="*/ 1569 h 1610"/>
                  <a:gd name="T50" fmla="*/ 908 w 1740"/>
                  <a:gd name="T51" fmla="*/ 1513 h 161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740" h="1610">
                    <a:moveTo>
                      <a:pt x="908" y="1513"/>
                    </a:moveTo>
                    <a:cubicBezTo>
                      <a:pt x="883" y="1305"/>
                      <a:pt x="859" y="1098"/>
                      <a:pt x="876" y="1049"/>
                    </a:cubicBezTo>
                    <a:cubicBezTo>
                      <a:pt x="893" y="1000"/>
                      <a:pt x="989" y="1134"/>
                      <a:pt x="1012" y="1217"/>
                    </a:cubicBezTo>
                    <a:cubicBezTo>
                      <a:pt x="1035" y="1300"/>
                      <a:pt x="976" y="1490"/>
                      <a:pt x="1012" y="1545"/>
                    </a:cubicBezTo>
                    <a:cubicBezTo>
                      <a:pt x="1048" y="1600"/>
                      <a:pt x="1171" y="1610"/>
                      <a:pt x="1228" y="1545"/>
                    </a:cubicBezTo>
                    <a:cubicBezTo>
                      <a:pt x="1285" y="1480"/>
                      <a:pt x="1303" y="1189"/>
                      <a:pt x="1356" y="1153"/>
                    </a:cubicBezTo>
                    <a:lnTo>
                      <a:pt x="1548" y="1329"/>
                    </a:lnTo>
                    <a:cubicBezTo>
                      <a:pt x="1595" y="1333"/>
                      <a:pt x="1605" y="1213"/>
                      <a:pt x="1636" y="1177"/>
                    </a:cubicBezTo>
                    <a:cubicBezTo>
                      <a:pt x="1667" y="1141"/>
                      <a:pt x="1740" y="1124"/>
                      <a:pt x="1732" y="1113"/>
                    </a:cubicBezTo>
                    <a:cubicBezTo>
                      <a:pt x="1724" y="1102"/>
                      <a:pt x="1619" y="1077"/>
                      <a:pt x="1588" y="1113"/>
                    </a:cubicBezTo>
                    <a:cubicBezTo>
                      <a:pt x="1557" y="1149"/>
                      <a:pt x="1584" y="1322"/>
                      <a:pt x="1546" y="1328"/>
                    </a:cubicBezTo>
                    <a:lnTo>
                      <a:pt x="1357" y="1151"/>
                    </a:lnTo>
                    <a:cubicBezTo>
                      <a:pt x="1328" y="1081"/>
                      <a:pt x="1400" y="963"/>
                      <a:pt x="1372" y="905"/>
                    </a:cubicBezTo>
                    <a:cubicBezTo>
                      <a:pt x="1344" y="847"/>
                      <a:pt x="1236" y="781"/>
                      <a:pt x="1188" y="801"/>
                    </a:cubicBezTo>
                    <a:cubicBezTo>
                      <a:pt x="1140" y="821"/>
                      <a:pt x="1149" y="1046"/>
                      <a:pt x="1084" y="1025"/>
                    </a:cubicBezTo>
                    <a:cubicBezTo>
                      <a:pt x="1019" y="1004"/>
                      <a:pt x="883" y="728"/>
                      <a:pt x="796" y="673"/>
                    </a:cubicBezTo>
                    <a:cubicBezTo>
                      <a:pt x="709" y="618"/>
                      <a:pt x="628" y="661"/>
                      <a:pt x="564" y="697"/>
                    </a:cubicBezTo>
                    <a:cubicBezTo>
                      <a:pt x="500" y="733"/>
                      <a:pt x="473" y="881"/>
                      <a:pt x="412" y="889"/>
                    </a:cubicBezTo>
                    <a:cubicBezTo>
                      <a:pt x="351" y="897"/>
                      <a:pt x="237" y="834"/>
                      <a:pt x="196" y="745"/>
                    </a:cubicBezTo>
                    <a:cubicBezTo>
                      <a:pt x="155" y="656"/>
                      <a:pt x="180" y="473"/>
                      <a:pt x="164" y="353"/>
                    </a:cubicBezTo>
                    <a:cubicBezTo>
                      <a:pt x="148" y="233"/>
                      <a:pt x="113" y="50"/>
                      <a:pt x="100" y="25"/>
                    </a:cubicBezTo>
                    <a:cubicBezTo>
                      <a:pt x="87" y="0"/>
                      <a:pt x="87" y="73"/>
                      <a:pt x="84" y="201"/>
                    </a:cubicBezTo>
                    <a:cubicBezTo>
                      <a:pt x="81" y="329"/>
                      <a:pt x="96" y="606"/>
                      <a:pt x="84" y="793"/>
                    </a:cubicBezTo>
                    <a:cubicBezTo>
                      <a:pt x="72" y="980"/>
                      <a:pt x="24" y="1192"/>
                      <a:pt x="12" y="1321"/>
                    </a:cubicBezTo>
                    <a:cubicBezTo>
                      <a:pt x="0" y="1450"/>
                      <a:pt x="6" y="1509"/>
                      <a:pt x="12" y="1569"/>
                    </a:cubicBezTo>
                    <a:cubicBezTo>
                      <a:pt x="12" y="1569"/>
                      <a:pt x="908" y="1513"/>
                      <a:pt x="908" y="1513"/>
                    </a:cubicBezTo>
                    <a:close/>
                  </a:path>
                </a:pathLst>
              </a:custGeom>
              <a:solidFill>
                <a:srgbClr val="D6A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" name="Freeform 243"/>
              <p:cNvSpPr>
                <a:spLocks/>
              </p:cNvSpPr>
              <p:nvPr/>
            </p:nvSpPr>
            <p:spPr bwMode="auto">
              <a:xfrm>
                <a:off x="159" y="1880"/>
                <a:ext cx="268" cy="225"/>
              </a:xfrm>
              <a:custGeom>
                <a:avLst/>
                <a:gdLst>
                  <a:gd name="T0" fmla="*/ 9 w 268"/>
                  <a:gd name="T1" fmla="*/ 136 h 225"/>
                  <a:gd name="T2" fmla="*/ 129 w 268"/>
                  <a:gd name="T3" fmla="*/ 224 h 225"/>
                  <a:gd name="T4" fmla="*/ 257 w 268"/>
                  <a:gd name="T5" fmla="*/ 144 h 225"/>
                  <a:gd name="T6" fmla="*/ 193 w 268"/>
                  <a:gd name="T7" fmla="*/ 32 h 225"/>
                  <a:gd name="T8" fmla="*/ 73 w 268"/>
                  <a:gd name="T9" fmla="*/ 16 h 225"/>
                  <a:gd name="T10" fmla="*/ 9 w 268"/>
                  <a:gd name="T11" fmla="*/ 136 h 2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8" h="225">
                    <a:moveTo>
                      <a:pt x="9" y="136"/>
                    </a:moveTo>
                    <a:cubicBezTo>
                      <a:pt x="18" y="171"/>
                      <a:pt x="88" y="223"/>
                      <a:pt x="129" y="224"/>
                    </a:cubicBezTo>
                    <a:cubicBezTo>
                      <a:pt x="170" y="225"/>
                      <a:pt x="246" y="176"/>
                      <a:pt x="257" y="144"/>
                    </a:cubicBezTo>
                    <a:cubicBezTo>
                      <a:pt x="268" y="112"/>
                      <a:pt x="224" y="53"/>
                      <a:pt x="193" y="32"/>
                    </a:cubicBezTo>
                    <a:cubicBezTo>
                      <a:pt x="162" y="11"/>
                      <a:pt x="104" y="0"/>
                      <a:pt x="73" y="16"/>
                    </a:cubicBezTo>
                    <a:cubicBezTo>
                      <a:pt x="42" y="32"/>
                      <a:pt x="0" y="101"/>
                      <a:pt x="9" y="136"/>
                    </a:cubicBezTo>
                    <a:close/>
                  </a:path>
                </a:pathLst>
              </a:custGeom>
              <a:solidFill>
                <a:srgbClr val="E9BEA9"/>
              </a:solidFill>
              <a:ln w="9525" cap="flat" cmpd="sng">
                <a:solidFill>
                  <a:srgbClr val="DAAD80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138" name="Freeform 244"/>
            <p:cNvSpPr>
              <a:spLocks/>
            </p:cNvSpPr>
            <p:nvPr/>
          </p:nvSpPr>
          <p:spPr bwMode="auto">
            <a:xfrm>
              <a:off x="213" y="2432"/>
              <a:ext cx="188" cy="139"/>
            </a:xfrm>
            <a:custGeom>
              <a:avLst/>
              <a:gdLst>
                <a:gd name="T0" fmla="*/ 11 w 188"/>
                <a:gd name="T1" fmla="*/ 0 h 139"/>
                <a:gd name="T2" fmla="*/ 91 w 188"/>
                <a:gd name="T3" fmla="*/ 56 h 139"/>
                <a:gd name="T4" fmla="*/ 187 w 188"/>
                <a:gd name="T5" fmla="*/ 16 h 139"/>
                <a:gd name="T6" fmla="*/ 83 w 188"/>
                <a:gd name="T7" fmla="*/ 88 h 139"/>
                <a:gd name="T8" fmla="*/ 3 w 188"/>
                <a:gd name="T9" fmla="*/ 56 h 139"/>
                <a:gd name="T10" fmla="*/ 99 w 188"/>
                <a:gd name="T11" fmla="*/ 128 h 139"/>
                <a:gd name="T12" fmla="*/ 147 w 188"/>
                <a:gd name="T13" fmla="*/ 120 h 1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8" h="139">
                  <a:moveTo>
                    <a:pt x="11" y="0"/>
                  </a:moveTo>
                  <a:cubicBezTo>
                    <a:pt x="36" y="26"/>
                    <a:pt x="62" y="53"/>
                    <a:pt x="91" y="56"/>
                  </a:cubicBezTo>
                  <a:cubicBezTo>
                    <a:pt x="120" y="59"/>
                    <a:pt x="188" y="11"/>
                    <a:pt x="187" y="16"/>
                  </a:cubicBezTo>
                  <a:cubicBezTo>
                    <a:pt x="186" y="21"/>
                    <a:pt x="114" y="81"/>
                    <a:pt x="83" y="88"/>
                  </a:cubicBezTo>
                  <a:cubicBezTo>
                    <a:pt x="52" y="95"/>
                    <a:pt x="0" y="49"/>
                    <a:pt x="3" y="56"/>
                  </a:cubicBezTo>
                  <a:cubicBezTo>
                    <a:pt x="6" y="63"/>
                    <a:pt x="75" y="117"/>
                    <a:pt x="99" y="128"/>
                  </a:cubicBezTo>
                  <a:cubicBezTo>
                    <a:pt x="123" y="139"/>
                    <a:pt x="135" y="129"/>
                    <a:pt x="147" y="120"/>
                  </a:cubicBezTo>
                </a:path>
              </a:pathLst>
            </a:custGeom>
            <a:noFill/>
            <a:ln w="19050" cap="flat" cmpd="sng">
              <a:solidFill>
                <a:srgbClr val="DAAD8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3370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9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7 L -0.2625 -0.63889 " pathEditMode="relative" rAng="0" ptsTypes="AA">
                                      <p:cBhvr>
                                        <p:cTn id="11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125" y="-3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6" presetClass="emph" presetSubtype="0" decel="5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100" fill="hold"/>
                                        <p:tgtEl>
                                          <p:spTgt spid="135"/>
                                        </p:tgtEl>
                                      </p:cBhvr>
                                      <p:by x="10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00"/>
                            </p:stCondLst>
                            <p:childTnLst>
                              <p:par>
                                <p:cTn id="16" presetID="2" presetClass="exit" presetSubtype="4" ac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7" dur="300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300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 tmFilter="0, 0; .2, .5; .8, .5; 1, 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250" autoRev="1" fill="hold"/>
                                        <p:tgtEl>
                                          <p:spTgt spid="13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200"/>
                            </p:stCondLst>
                            <p:childTnLst>
                              <p:par>
                                <p:cTn id="24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" dur="25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4C536D6-B736-49CE-A15A-036B8228C5C7}" type="datetime1">
              <a:rPr lang="en-GB" smtClean="0"/>
              <a:t>16/07/2019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endParaRPr lang="en-US">
              <a:latin typeface="Allianz Neo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llianz Neo" pitchFamily="34" charset="0"/>
              </a:rPr>
              <a:t>DASHBOARD view </a:t>
            </a:r>
            <a:r>
              <a:rPr lang="en-US" dirty="0" smtClean="0">
                <a:latin typeface="Allianz Neo" pitchFamily="34" charset="0"/>
              </a:rPr>
              <a:t>– E.g., IDS</a:t>
            </a:r>
            <a:endParaRPr lang="en-US" dirty="0">
              <a:latin typeface="Allianz Neo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63724" y="1019622"/>
            <a:ext cx="2823170" cy="453183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  <a:t>Portfolio level</a:t>
            </a:r>
            <a:endParaRPr lang="en-US" sz="2000" dirty="0" smtClean="0">
              <a:solidFill>
                <a:schemeClr val="tx1">
                  <a:lumMod val="65000"/>
                  <a:lumOff val="35000"/>
                </a:schemeClr>
              </a:solidFill>
              <a:latin typeface="Allianz Neo" pitchFamily="34" charset="0"/>
            </a:endParaRPr>
          </a:p>
        </p:txBody>
      </p:sp>
      <p:grpSp>
        <p:nvGrpSpPr>
          <p:cNvPr id="148" name="Group 147"/>
          <p:cNvGrpSpPr/>
          <p:nvPr/>
        </p:nvGrpSpPr>
        <p:grpSpPr>
          <a:xfrm>
            <a:off x="1494174" y="1197546"/>
            <a:ext cx="8177734" cy="7180769"/>
            <a:chOff x="1494174" y="1197546"/>
            <a:chExt cx="8177734" cy="7180769"/>
          </a:xfrm>
        </p:grpSpPr>
        <p:grpSp>
          <p:nvGrpSpPr>
            <p:cNvPr id="10" name="Group 9"/>
            <p:cNvGrpSpPr/>
            <p:nvPr/>
          </p:nvGrpSpPr>
          <p:grpSpPr>
            <a:xfrm>
              <a:off x="1494174" y="1197546"/>
              <a:ext cx="8177734" cy="7180769"/>
              <a:chOff x="1120776" y="627534"/>
              <a:chExt cx="6134098" cy="5384330"/>
            </a:xfrm>
          </p:grpSpPr>
          <p:grpSp>
            <p:nvGrpSpPr>
              <p:cNvPr id="57" name="Group 56"/>
              <p:cNvGrpSpPr/>
              <p:nvPr/>
            </p:nvGrpSpPr>
            <p:grpSpPr>
              <a:xfrm>
                <a:off x="2147888" y="627534"/>
                <a:ext cx="5106986" cy="3933826"/>
                <a:chOff x="2147888" y="320676"/>
                <a:chExt cx="5106988" cy="3933825"/>
              </a:xfrm>
            </p:grpSpPr>
            <p:sp>
              <p:nvSpPr>
                <p:cNvPr id="119" name="Freeform 7"/>
                <p:cNvSpPr>
                  <a:spLocks/>
                </p:cNvSpPr>
                <p:nvPr/>
              </p:nvSpPr>
              <p:spPr bwMode="auto">
                <a:xfrm>
                  <a:off x="2147888" y="320676"/>
                  <a:ext cx="5097463" cy="3933825"/>
                </a:xfrm>
                <a:custGeom>
                  <a:avLst/>
                  <a:gdLst>
                    <a:gd name="T0" fmla="*/ 1047 w 1047"/>
                    <a:gd name="T1" fmla="*/ 772 h 808"/>
                    <a:gd name="T2" fmla="*/ 1047 w 1047"/>
                    <a:gd name="T3" fmla="*/ 36 h 808"/>
                    <a:gd name="T4" fmla="*/ 1011 w 1047"/>
                    <a:gd name="T5" fmla="*/ 0 h 808"/>
                    <a:gd name="T6" fmla="*/ 36 w 1047"/>
                    <a:gd name="T7" fmla="*/ 0 h 808"/>
                    <a:gd name="T8" fmla="*/ 0 w 1047"/>
                    <a:gd name="T9" fmla="*/ 36 h 808"/>
                    <a:gd name="T10" fmla="*/ 0 w 1047"/>
                    <a:gd name="T11" fmla="*/ 772 h 808"/>
                    <a:gd name="T12" fmla="*/ 36 w 1047"/>
                    <a:gd name="T13" fmla="*/ 808 h 808"/>
                    <a:gd name="T14" fmla="*/ 1011 w 1047"/>
                    <a:gd name="T15" fmla="*/ 808 h 808"/>
                    <a:gd name="T16" fmla="*/ 1047 w 1047"/>
                    <a:gd name="T17" fmla="*/ 772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7" h="808">
                      <a:moveTo>
                        <a:pt x="1047" y="772"/>
                      </a:moveTo>
                      <a:cubicBezTo>
                        <a:pt x="1047" y="36"/>
                        <a:pt x="1047" y="36"/>
                        <a:pt x="1047" y="36"/>
                      </a:cubicBezTo>
                      <a:cubicBezTo>
                        <a:pt x="1047" y="17"/>
                        <a:pt x="1031" y="0"/>
                        <a:pt x="1011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16" y="0"/>
                        <a:pt x="0" y="17"/>
                        <a:pt x="0" y="36"/>
                      </a:cubicBezTo>
                      <a:cubicBezTo>
                        <a:pt x="0" y="772"/>
                        <a:pt x="0" y="772"/>
                        <a:pt x="0" y="772"/>
                      </a:cubicBezTo>
                      <a:cubicBezTo>
                        <a:pt x="0" y="792"/>
                        <a:pt x="16" y="808"/>
                        <a:pt x="36" y="808"/>
                      </a:cubicBezTo>
                      <a:cubicBezTo>
                        <a:pt x="1011" y="808"/>
                        <a:pt x="1011" y="808"/>
                        <a:pt x="1011" y="808"/>
                      </a:cubicBezTo>
                      <a:cubicBezTo>
                        <a:pt x="1031" y="808"/>
                        <a:pt x="1047" y="792"/>
                        <a:pt x="1047" y="772"/>
                      </a:cubicBezTo>
                    </a:path>
                  </a:pathLst>
                </a:custGeom>
                <a:solidFill>
                  <a:srgbClr val="21242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" name="Freeform 8"/>
                <p:cNvSpPr>
                  <a:spLocks/>
                </p:cNvSpPr>
                <p:nvPr/>
              </p:nvSpPr>
              <p:spPr bwMode="auto">
                <a:xfrm>
                  <a:off x="4656138" y="320676"/>
                  <a:ext cx="2598738" cy="2093913"/>
                </a:xfrm>
                <a:custGeom>
                  <a:avLst/>
                  <a:gdLst>
                    <a:gd name="T0" fmla="*/ 534 w 534"/>
                    <a:gd name="T1" fmla="*/ 430 h 430"/>
                    <a:gd name="T2" fmla="*/ 534 w 534"/>
                    <a:gd name="T3" fmla="*/ 36 h 430"/>
                    <a:gd name="T4" fmla="*/ 498 w 534"/>
                    <a:gd name="T5" fmla="*/ 0 h 430"/>
                    <a:gd name="T6" fmla="*/ 0 w 534"/>
                    <a:gd name="T7" fmla="*/ 0 h 430"/>
                    <a:gd name="T8" fmla="*/ 534 w 534"/>
                    <a:gd name="T9" fmla="*/ 430 h 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4" h="430">
                      <a:moveTo>
                        <a:pt x="534" y="430"/>
                      </a:moveTo>
                      <a:cubicBezTo>
                        <a:pt x="534" y="36"/>
                        <a:pt x="534" y="36"/>
                        <a:pt x="534" y="36"/>
                      </a:cubicBezTo>
                      <a:cubicBezTo>
                        <a:pt x="534" y="17"/>
                        <a:pt x="518" y="0"/>
                        <a:pt x="49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534" y="430"/>
                      </a:lnTo>
                      <a:close/>
                    </a:path>
                  </a:pathLst>
                </a:custGeom>
                <a:solidFill>
                  <a:srgbClr val="5A5A5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" name="Freeform 10"/>
                <p:cNvSpPr>
                  <a:spLocks/>
                </p:cNvSpPr>
                <p:nvPr/>
              </p:nvSpPr>
              <p:spPr bwMode="auto">
                <a:xfrm>
                  <a:off x="2659063" y="739776"/>
                  <a:ext cx="4129088" cy="3095625"/>
                </a:xfrm>
                <a:custGeom>
                  <a:avLst/>
                  <a:gdLst>
                    <a:gd name="T0" fmla="*/ 848 w 848"/>
                    <a:gd name="T1" fmla="*/ 635 h 636"/>
                    <a:gd name="T2" fmla="*/ 847 w 848"/>
                    <a:gd name="T3" fmla="*/ 636 h 636"/>
                    <a:gd name="T4" fmla="*/ 2 w 848"/>
                    <a:gd name="T5" fmla="*/ 636 h 636"/>
                    <a:gd name="T6" fmla="*/ 0 w 848"/>
                    <a:gd name="T7" fmla="*/ 635 h 636"/>
                    <a:gd name="T8" fmla="*/ 0 w 848"/>
                    <a:gd name="T9" fmla="*/ 2 h 636"/>
                    <a:gd name="T10" fmla="*/ 2 w 848"/>
                    <a:gd name="T11" fmla="*/ 0 h 636"/>
                    <a:gd name="T12" fmla="*/ 847 w 848"/>
                    <a:gd name="T13" fmla="*/ 0 h 636"/>
                    <a:gd name="T14" fmla="*/ 848 w 848"/>
                    <a:gd name="T15" fmla="*/ 2 h 636"/>
                    <a:gd name="T16" fmla="*/ 848 w 848"/>
                    <a:gd name="T17" fmla="*/ 635 h 6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8" h="636">
                      <a:moveTo>
                        <a:pt x="848" y="635"/>
                      </a:moveTo>
                      <a:cubicBezTo>
                        <a:pt x="848" y="636"/>
                        <a:pt x="847" y="636"/>
                        <a:pt x="847" y="636"/>
                      </a:cubicBezTo>
                      <a:cubicBezTo>
                        <a:pt x="2" y="636"/>
                        <a:pt x="2" y="636"/>
                        <a:pt x="2" y="636"/>
                      </a:cubicBezTo>
                      <a:cubicBezTo>
                        <a:pt x="1" y="636"/>
                        <a:pt x="0" y="636"/>
                        <a:pt x="0" y="63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847" y="0"/>
                        <a:pt x="847" y="0"/>
                        <a:pt x="847" y="0"/>
                      </a:cubicBezTo>
                      <a:cubicBezTo>
                        <a:pt x="847" y="0"/>
                        <a:pt x="848" y="1"/>
                        <a:pt x="848" y="2"/>
                      </a:cubicBezTo>
                      <a:lnTo>
                        <a:pt x="848" y="63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grpSp>
            <p:nvGrpSpPr>
              <p:cNvPr id="58" name="Group 57"/>
              <p:cNvGrpSpPr/>
              <p:nvPr/>
            </p:nvGrpSpPr>
            <p:grpSpPr>
              <a:xfrm>
                <a:off x="1120776" y="2492376"/>
                <a:ext cx="1436688" cy="3519488"/>
                <a:chOff x="1120776" y="2492376"/>
                <a:chExt cx="1436688" cy="3519488"/>
              </a:xfrm>
            </p:grpSpPr>
            <p:sp>
              <p:nvSpPr>
                <p:cNvPr id="59" name="Freeform 64"/>
                <p:cNvSpPr>
                  <a:spLocks/>
                </p:cNvSpPr>
                <p:nvPr/>
              </p:nvSpPr>
              <p:spPr bwMode="auto">
                <a:xfrm>
                  <a:off x="2411413" y="2598738"/>
                  <a:ext cx="131763" cy="1655763"/>
                </a:xfrm>
                <a:custGeom>
                  <a:avLst/>
                  <a:gdLst>
                    <a:gd name="T0" fmla="*/ 14 w 27"/>
                    <a:gd name="T1" fmla="*/ 0 h 340"/>
                    <a:gd name="T2" fmla="*/ 15 w 27"/>
                    <a:gd name="T3" fmla="*/ 5 h 340"/>
                    <a:gd name="T4" fmla="*/ 22 w 27"/>
                    <a:gd name="T5" fmla="*/ 59 h 340"/>
                    <a:gd name="T6" fmla="*/ 3 w 27"/>
                    <a:gd name="T7" fmla="*/ 161 h 340"/>
                    <a:gd name="T8" fmla="*/ 6 w 27"/>
                    <a:gd name="T9" fmla="*/ 235 h 340"/>
                    <a:gd name="T10" fmla="*/ 23 w 27"/>
                    <a:gd name="T11" fmla="*/ 340 h 340"/>
                    <a:gd name="T12" fmla="*/ 27 w 27"/>
                    <a:gd name="T13" fmla="*/ 340 h 340"/>
                    <a:gd name="T14" fmla="*/ 10 w 27"/>
                    <a:gd name="T15" fmla="*/ 239 h 340"/>
                    <a:gd name="T16" fmla="*/ 7 w 27"/>
                    <a:gd name="T17" fmla="*/ 165 h 340"/>
                    <a:gd name="T18" fmla="*/ 26 w 27"/>
                    <a:gd name="T19" fmla="*/ 64 h 340"/>
                    <a:gd name="T20" fmla="*/ 14 w 27"/>
                    <a:gd name="T21" fmla="*/ 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7" h="340">
                      <a:moveTo>
                        <a:pt x="14" y="0"/>
                      </a:moveTo>
                      <a:cubicBezTo>
                        <a:pt x="14" y="2"/>
                        <a:pt x="14" y="4"/>
                        <a:pt x="15" y="5"/>
                      </a:cubicBezTo>
                      <a:cubicBezTo>
                        <a:pt x="22" y="22"/>
                        <a:pt x="23" y="45"/>
                        <a:pt x="22" y="59"/>
                      </a:cubicBezTo>
                      <a:cubicBezTo>
                        <a:pt x="21" y="83"/>
                        <a:pt x="5" y="134"/>
                        <a:pt x="3" y="161"/>
                      </a:cubicBezTo>
                      <a:cubicBezTo>
                        <a:pt x="0" y="188"/>
                        <a:pt x="8" y="211"/>
                        <a:pt x="6" y="235"/>
                      </a:cubicBezTo>
                      <a:cubicBezTo>
                        <a:pt x="4" y="254"/>
                        <a:pt x="21" y="296"/>
                        <a:pt x="23" y="340"/>
                      </a:cubicBezTo>
                      <a:cubicBezTo>
                        <a:pt x="27" y="340"/>
                        <a:pt x="27" y="340"/>
                        <a:pt x="27" y="340"/>
                      </a:cubicBezTo>
                      <a:cubicBezTo>
                        <a:pt x="24" y="297"/>
                        <a:pt x="8" y="258"/>
                        <a:pt x="10" y="239"/>
                      </a:cubicBezTo>
                      <a:cubicBezTo>
                        <a:pt x="12" y="216"/>
                        <a:pt x="5" y="192"/>
                        <a:pt x="7" y="165"/>
                      </a:cubicBezTo>
                      <a:cubicBezTo>
                        <a:pt x="9" y="138"/>
                        <a:pt x="25" y="87"/>
                        <a:pt x="26" y="64"/>
                      </a:cubicBezTo>
                      <a:cubicBezTo>
                        <a:pt x="27" y="47"/>
                        <a:pt x="26" y="17"/>
                        <a:pt x="14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0" name="Freeform 65"/>
                <p:cNvSpPr>
                  <a:spLocks/>
                </p:cNvSpPr>
                <p:nvPr/>
              </p:nvSpPr>
              <p:spPr bwMode="auto">
                <a:xfrm>
                  <a:off x="2459038" y="2565401"/>
                  <a:ext cx="20638" cy="33338"/>
                </a:xfrm>
                <a:custGeom>
                  <a:avLst/>
                  <a:gdLst>
                    <a:gd name="T0" fmla="*/ 0 w 4"/>
                    <a:gd name="T1" fmla="*/ 0 h 7"/>
                    <a:gd name="T2" fmla="*/ 2 w 4"/>
                    <a:gd name="T3" fmla="*/ 5 h 7"/>
                    <a:gd name="T4" fmla="*/ 4 w 4"/>
                    <a:gd name="T5" fmla="*/ 7 h 7"/>
                    <a:gd name="T6" fmla="*/ 0 w 4"/>
                    <a:gd name="T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7">
                      <a:moveTo>
                        <a:pt x="0" y="0"/>
                      </a:moveTo>
                      <a:cubicBezTo>
                        <a:pt x="1" y="2"/>
                        <a:pt x="1" y="3"/>
                        <a:pt x="2" y="5"/>
                      </a:cubicBezTo>
                      <a:cubicBezTo>
                        <a:pt x="2" y="6"/>
                        <a:pt x="3" y="6"/>
                        <a:pt x="4" y="7"/>
                      </a:cubicBezTo>
                      <a:cubicBezTo>
                        <a:pt x="3" y="4"/>
                        <a:pt x="2" y="2"/>
                        <a:pt x="0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1" name="Freeform 66"/>
                <p:cNvSpPr>
                  <a:spLocks/>
                </p:cNvSpPr>
                <p:nvPr/>
              </p:nvSpPr>
              <p:spPr bwMode="auto">
                <a:xfrm>
                  <a:off x="2470151" y="2589213"/>
                  <a:ext cx="14288" cy="33338"/>
                </a:xfrm>
                <a:custGeom>
                  <a:avLst/>
                  <a:gdLst>
                    <a:gd name="T0" fmla="*/ 0 w 3"/>
                    <a:gd name="T1" fmla="*/ 0 h 7"/>
                    <a:gd name="T2" fmla="*/ 0 w 3"/>
                    <a:gd name="T3" fmla="*/ 2 h 7"/>
                    <a:gd name="T4" fmla="*/ 3 w 3"/>
                    <a:gd name="T5" fmla="*/ 7 h 7"/>
                    <a:gd name="T6" fmla="*/ 2 w 3"/>
                    <a:gd name="T7" fmla="*/ 2 h 7"/>
                    <a:gd name="T8" fmla="*/ 0 w 3"/>
                    <a:gd name="T9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7">
                      <a:moveTo>
                        <a:pt x="0" y="0"/>
                      </a:moveTo>
                      <a:cubicBezTo>
                        <a:pt x="0" y="1"/>
                        <a:pt x="0" y="1"/>
                        <a:pt x="0" y="2"/>
                      </a:cubicBezTo>
                      <a:cubicBezTo>
                        <a:pt x="1" y="4"/>
                        <a:pt x="2" y="6"/>
                        <a:pt x="3" y="7"/>
                      </a:cubicBezTo>
                      <a:cubicBezTo>
                        <a:pt x="2" y="6"/>
                        <a:pt x="2" y="4"/>
                        <a:pt x="2" y="2"/>
                      </a:cubicBez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1B1D1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2" name="Freeform 68"/>
                <p:cNvSpPr>
                  <a:spLocks/>
                </p:cNvSpPr>
                <p:nvPr/>
              </p:nvSpPr>
              <p:spPr bwMode="auto">
                <a:xfrm>
                  <a:off x="1120776" y="3286126"/>
                  <a:ext cx="311150" cy="2725738"/>
                </a:xfrm>
                <a:custGeom>
                  <a:avLst/>
                  <a:gdLst>
                    <a:gd name="T0" fmla="*/ 0 w 64"/>
                    <a:gd name="T1" fmla="*/ 560 h 560"/>
                    <a:gd name="T2" fmla="*/ 62 w 64"/>
                    <a:gd name="T3" fmla="*/ 313 h 560"/>
                    <a:gd name="T4" fmla="*/ 57 w 64"/>
                    <a:gd name="T5" fmla="*/ 0 h 5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4" h="560">
                      <a:moveTo>
                        <a:pt x="0" y="560"/>
                      </a:moveTo>
                      <a:cubicBezTo>
                        <a:pt x="19" y="510"/>
                        <a:pt x="64" y="401"/>
                        <a:pt x="62" y="313"/>
                      </a:cubicBezTo>
                      <a:cubicBezTo>
                        <a:pt x="59" y="218"/>
                        <a:pt x="19" y="10"/>
                        <a:pt x="57" y="0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3" name="Freeform 69"/>
                <p:cNvSpPr>
                  <a:spLocks/>
                </p:cNvSpPr>
                <p:nvPr/>
              </p:nvSpPr>
              <p:spPr bwMode="auto">
                <a:xfrm>
                  <a:off x="1120776" y="2492376"/>
                  <a:ext cx="1436688" cy="3519488"/>
                </a:xfrm>
                <a:custGeom>
                  <a:avLst/>
                  <a:gdLst>
                    <a:gd name="T0" fmla="*/ 57 w 295"/>
                    <a:gd name="T1" fmla="*/ 163 h 723"/>
                    <a:gd name="T2" fmla="*/ 129 w 295"/>
                    <a:gd name="T3" fmla="*/ 133 h 723"/>
                    <a:gd name="T4" fmla="*/ 191 w 295"/>
                    <a:gd name="T5" fmla="*/ 104 h 723"/>
                    <a:gd name="T6" fmla="*/ 202 w 295"/>
                    <a:gd name="T7" fmla="*/ 50 h 723"/>
                    <a:gd name="T8" fmla="*/ 255 w 295"/>
                    <a:gd name="T9" fmla="*/ 5 h 723"/>
                    <a:gd name="T10" fmla="*/ 287 w 295"/>
                    <a:gd name="T11" fmla="*/ 81 h 723"/>
                    <a:gd name="T12" fmla="*/ 268 w 295"/>
                    <a:gd name="T13" fmla="*/ 183 h 723"/>
                    <a:gd name="T14" fmla="*/ 271 w 295"/>
                    <a:gd name="T15" fmla="*/ 257 h 723"/>
                    <a:gd name="T16" fmla="*/ 287 w 295"/>
                    <a:gd name="T17" fmla="*/ 394 h 723"/>
                    <a:gd name="T18" fmla="*/ 231 w 295"/>
                    <a:gd name="T19" fmla="*/ 549 h 723"/>
                    <a:gd name="T20" fmla="*/ 188 w 295"/>
                    <a:gd name="T21" fmla="*/ 723 h 723"/>
                    <a:gd name="T22" fmla="*/ 0 w 295"/>
                    <a:gd name="T23" fmla="*/ 723 h 723"/>
                    <a:gd name="T24" fmla="*/ 57 w 295"/>
                    <a:gd name="T25" fmla="*/ 163 h 7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95" h="723">
                      <a:moveTo>
                        <a:pt x="57" y="163"/>
                      </a:moveTo>
                      <a:cubicBezTo>
                        <a:pt x="72" y="151"/>
                        <a:pt x="106" y="143"/>
                        <a:pt x="129" y="133"/>
                      </a:cubicBezTo>
                      <a:cubicBezTo>
                        <a:pt x="153" y="122"/>
                        <a:pt x="185" y="107"/>
                        <a:pt x="191" y="104"/>
                      </a:cubicBezTo>
                      <a:cubicBezTo>
                        <a:pt x="196" y="101"/>
                        <a:pt x="195" y="74"/>
                        <a:pt x="202" y="50"/>
                      </a:cubicBezTo>
                      <a:cubicBezTo>
                        <a:pt x="210" y="27"/>
                        <a:pt x="224" y="0"/>
                        <a:pt x="255" y="5"/>
                      </a:cubicBezTo>
                      <a:cubicBezTo>
                        <a:pt x="286" y="11"/>
                        <a:pt x="288" y="58"/>
                        <a:pt x="287" y="81"/>
                      </a:cubicBezTo>
                      <a:cubicBezTo>
                        <a:pt x="286" y="105"/>
                        <a:pt x="270" y="156"/>
                        <a:pt x="268" y="183"/>
                      </a:cubicBezTo>
                      <a:cubicBezTo>
                        <a:pt x="265" y="210"/>
                        <a:pt x="273" y="233"/>
                        <a:pt x="271" y="257"/>
                      </a:cubicBezTo>
                      <a:cubicBezTo>
                        <a:pt x="269" y="281"/>
                        <a:pt x="295" y="339"/>
                        <a:pt x="287" y="394"/>
                      </a:cubicBezTo>
                      <a:cubicBezTo>
                        <a:pt x="279" y="449"/>
                        <a:pt x="249" y="502"/>
                        <a:pt x="231" y="549"/>
                      </a:cubicBezTo>
                      <a:cubicBezTo>
                        <a:pt x="215" y="594"/>
                        <a:pt x="192" y="670"/>
                        <a:pt x="188" y="723"/>
                      </a:cubicBezTo>
                      <a:cubicBezTo>
                        <a:pt x="0" y="723"/>
                        <a:pt x="0" y="723"/>
                        <a:pt x="0" y="723"/>
                      </a:cubicBezTo>
                      <a:cubicBezTo>
                        <a:pt x="57" y="163"/>
                        <a:pt x="57" y="163"/>
                        <a:pt x="57" y="163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4" name="Freeform 70"/>
                <p:cNvSpPr>
                  <a:spLocks/>
                </p:cNvSpPr>
                <p:nvPr/>
              </p:nvSpPr>
              <p:spPr bwMode="auto">
                <a:xfrm>
                  <a:off x="2060576" y="2968626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C1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5" name="Freeform 71"/>
                <p:cNvSpPr>
                  <a:spLocks noEditPoints="1"/>
                </p:cNvSpPr>
                <p:nvPr/>
              </p:nvSpPr>
              <p:spPr bwMode="auto">
                <a:xfrm>
                  <a:off x="1700213" y="2968626"/>
                  <a:ext cx="360363" cy="842963"/>
                </a:xfrm>
                <a:custGeom>
                  <a:avLst/>
                  <a:gdLst>
                    <a:gd name="T0" fmla="*/ 74 w 74"/>
                    <a:gd name="T1" fmla="*/ 3 h 173"/>
                    <a:gd name="T2" fmla="*/ 56 w 74"/>
                    <a:gd name="T3" fmla="*/ 50 h 173"/>
                    <a:gd name="T4" fmla="*/ 52 w 74"/>
                    <a:gd name="T5" fmla="*/ 49 h 173"/>
                    <a:gd name="T6" fmla="*/ 39 w 74"/>
                    <a:gd name="T7" fmla="*/ 44 h 173"/>
                    <a:gd name="T8" fmla="*/ 51 w 74"/>
                    <a:gd name="T9" fmla="*/ 57 h 173"/>
                    <a:gd name="T10" fmla="*/ 57 w 74"/>
                    <a:gd name="T11" fmla="*/ 66 h 173"/>
                    <a:gd name="T12" fmla="*/ 9 w 74"/>
                    <a:gd name="T13" fmla="*/ 53 h 173"/>
                    <a:gd name="T14" fmla="*/ 4 w 74"/>
                    <a:gd name="T15" fmla="*/ 53 h 173"/>
                    <a:gd name="T16" fmla="*/ 58 w 74"/>
                    <a:gd name="T17" fmla="*/ 83 h 173"/>
                    <a:gd name="T18" fmla="*/ 53 w 74"/>
                    <a:gd name="T19" fmla="*/ 92 h 173"/>
                    <a:gd name="T20" fmla="*/ 16 w 74"/>
                    <a:gd name="T21" fmla="*/ 77 h 173"/>
                    <a:gd name="T22" fmla="*/ 12 w 74"/>
                    <a:gd name="T23" fmla="*/ 76 h 173"/>
                    <a:gd name="T24" fmla="*/ 49 w 74"/>
                    <a:gd name="T25" fmla="*/ 108 h 173"/>
                    <a:gd name="T26" fmla="*/ 21 w 74"/>
                    <a:gd name="T27" fmla="*/ 139 h 173"/>
                    <a:gd name="T28" fmla="*/ 14 w 74"/>
                    <a:gd name="T29" fmla="*/ 144 h 173"/>
                    <a:gd name="T30" fmla="*/ 32 w 74"/>
                    <a:gd name="T31" fmla="*/ 142 h 173"/>
                    <a:gd name="T32" fmla="*/ 32 w 74"/>
                    <a:gd name="T33" fmla="*/ 142 h 173"/>
                    <a:gd name="T34" fmla="*/ 30 w 74"/>
                    <a:gd name="T35" fmla="*/ 158 h 173"/>
                    <a:gd name="T36" fmla="*/ 20 w 74"/>
                    <a:gd name="T37" fmla="*/ 173 h 173"/>
                    <a:gd name="T38" fmla="*/ 20 w 74"/>
                    <a:gd name="T39" fmla="*/ 173 h 173"/>
                    <a:gd name="T40" fmla="*/ 33 w 74"/>
                    <a:gd name="T41" fmla="*/ 158 h 173"/>
                    <a:gd name="T42" fmla="*/ 74 w 74"/>
                    <a:gd name="T43" fmla="*/ 3 h 173"/>
                    <a:gd name="T44" fmla="*/ 74 w 74"/>
                    <a:gd name="T45" fmla="*/ 0 h 173"/>
                    <a:gd name="T46" fmla="*/ 74 w 74"/>
                    <a:gd name="T47" fmla="*/ 1 h 173"/>
                    <a:gd name="T48" fmla="*/ 74 w 74"/>
                    <a:gd name="T49" fmla="*/ 3 h 173"/>
                    <a:gd name="T50" fmla="*/ 74 w 74"/>
                    <a:gd name="T51" fmla="*/ 0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74" h="173">
                      <a:moveTo>
                        <a:pt x="74" y="3"/>
                      </a:moveTo>
                      <a:cubicBezTo>
                        <a:pt x="69" y="39"/>
                        <a:pt x="63" y="50"/>
                        <a:pt x="56" y="50"/>
                      </a:cubicBezTo>
                      <a:cubicBezTo>
                        <a:pt x="55" y="50"/>
                        <a:pt x="54" y="49"/>
                        <a:pt x="52" y="49"/>
                      </a:cubicBezTo>
                      <a:cubicBezTo>
                        <a:pt x="48" y="47"/>
                        <a:pt x="41" y="44"/>
                        <a:pt x="39" y="44"/>
                      </a:cubicBezTo>
                      <a:cubicBezTo>
                        <a:pt x="36" y="44"/>
                        <a:pt x="38" y="47"/>
                        <a:pt x="51" y="57"/>
                      </a:cubicBezTo>
                      <a:cubicBezTo>
                        <a:pt x="59" y="64"/>
                        <a:pt x="60" y="66"/>
                        <a:pt x="57" y="66"/>
                      </a:cubicBezTo>
                      <a:cubicBezTo>
                        <a:pt x="50" y="66"/>
                        <a:pt x="24" y="56"/>
                        <a:pt x="9" y="53"/>
                      </a:cubicBezTo>
                      <a:cubicBezTo>
                        <a:pt x="6" y="53"/>
                        <a:pt x="5" y="53"/>
                        <a:pt x="4" y="53"/>
                      </a:cubicBezTo>
                      <a:cubicBezTo>
                        <a:pt x="0" y="53"/>
                        <a:pt x="56" y="64"/>
                        <a:pt x="58" y="83"/>
                      </a:cubicBezTo>
                      <a:cubicBezTo>
                        <a:pt x="59" y="89"/>
                        <a:pt x="57" y="92"/>
                        <a:pt x="53" y="92"/>
                      </a:cubicBezTo>
                      <a:cubicBezTo>
                        <a:pt x="44" y="92"/>
                        <a:pt x="27" y="81"/>
                        <a:pt x="16" y="77"/>
                      </a:cubicBezTo>
                      <a:cubicBezTo>
                        <a:pt x="14" y="77"/>
                        <a:pt x="13" y="76"/>
                        <a:pt x="12" y="76"/>
                      </a:cubicBezTo>
                      <a:cubicBezTo>
                        <a:pt x="7" y="76"/>
                        <a:pt x="42" y="98"/>
                        <a:pt x="49" y="108"/>
                      </a:cubicBezTo>
                      <a:cubicBezTo>
                        <a:pt x="58" y="119"/>
                        <a:pt x="41" y="133"/>
                        <a:pt x="21" y="139"/>
                      </a:cubicBezTo>
                      <a:cubicBezTo>
                        <a:pt x="10" y="143"/>
                        <a:pt x="9" y="144"/>
                        <a:pt x="14" y="144"/>
                      </a:cubicBezTo>
                      <a:cubicBezTo>
                        <a:pt x="17" y="144"/>
                        <a:pt x="24" y="143"/>
                        <a:pt x="32" y="142"/>
                      </a:cubicBezTo>
                      <a:cubicBezTo>
                        <a:pt x="32" y="142"/>
                        <a:pt x="32" y="142"/>
                        <a:pt x="32" y="142"/>
                      </a:cubicBezTo>
                      <a:cubicBezTo>
                        <a:pt x="38" y="142"/>
                        <a:pt x="35" y="150"/>
                        <a:pt x="30" y="158"/>
                      </a:cubicBezTo>
                      <a:cubicBezTo>
                        <a:pt x="26" y="165"/>
                        <a:pt x="20" y="173"/>
                        <a:pt x="20" y="173"/>
                      </a:cubicBezTo>
                      <a:cubicBezTo>
                        <a:pt x="20" y="173"/>
                        <a:pt x="20" y="173"/>
                        <a:pt x="20" y="173"/>
                      </a:cubicBezTo>
                      <a:cubicBezTo>
                        <a:pt x="21" y="173"/>
                        <a:pt x="24" y="169"/>
                        <a:pt x="33" y="158"/>
                      </a:cubicBezTo>
                      <a:cubicBezTo>
                        <a:pt x="67" y="116"/>
                        <a:pt x="71" y="25"/>
                        <a:pt x="74" y="3"/>
                      </a:cubicBezTo>
                      <a:moveTo>
                        <a:pt x="74" y="0"/>
                      </a:moveTo>
                      <a:cubicBezTo>
                        <a:pt x="74" y="1"/>
                        <a:pt x="74" y="1"/>
                        <a:pt x="74" y="1"/>
                      </a:cubicBezTo>
                      <a:cubicBezTo>
                        <a:pt x="74" y="1"/>
                        <a:pt x="74" y="2"/>
                        <a:pt x="74" y="3"/>
                      </a:cubicBezTo>
                      <a:cubicBezTo>
                        <a:pt x="74" y="2"/>
                        <a:pt x="74" y="1"/>
                        <a:pt x="7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6" name="Freeform 72"/>
                <p:cNvSpPr>
                  <a:spLocks noEditPoints="1"/>
                </p:cNvSpPr>
                <p:nvPr/>
              </p:nvSpPr>
              <p:spPr bwMode="auto">
                <a:xfrm>
                  <a:off x="2114551" y="2998788"/>
                  <a:ext cx="315913" cy="146050"/>
                </a:xfrm>
                <a:custGeom>
                  <a:avLst/>
                  <a:gdLst>
                    <a:gd name="T0" fmla="*/ 9 w 65"/>
                    <a:gd name="T1" fmla="*/ 18 h 30"/>
                    <a:gd name="T2" fmla="*/ 58 w 65"/>
                    <a:gd name="T3" fmla="*/ 30 h 30"/>
                    <a:gd name="T4" fmla="*/ 59 w 65"/>
                    <a:gd name="T5" fmla="*/ 30 h 30"/>
                    <a:gd name="T6" fmla="*/ 65 w 65"/>
                    <a:gd name="T7" fmla="*/ 30 h 30"/>
                    <a:gd name="T8" fmla="*/ 65 w 65"/>
                    <a:gd name="T9" fmla="*/ 30 h 30"/>
                    <a:gd name="T10" fmla="*/ 9 w 65"/>
                    <a:gd name="T11" fmla="*/ 18 h 30"/>
                    <a:gd name="T12" fmla="*/ 14 w 65"/>
                    <a:gd name="T13" fmla="*/ 0 h 30"/>
                    <a:gd name="T14" fmla="*/ 12 w 65"/>
                    <a:gd name="T15" fmla="*/ 0 h 30"/>
                    <a:gd name="T16" fmla="*/ 0 w 65"/>
                    <a:gd name="T17" fmla="*/ 1 h 30"/>
                    <a:gd name="T18" fmla="*/ 29 w 65"/>
                    <a:gd name="T19" fmla="*/ 4 h 30"/>
                    <a:gd name="T20" fmla="*/ 43 w 65"/>
                    <a:gd name="T21" fmla="*/ 2 h 30"/>
                    <a:gd name="T22" fmla="*/ 14 w 65"/>
                    <a:gd name="T23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5" h="30">
                      <a:moveTo>
                        <a:pt x="9" y="18"/>
                      </a:moveTo>
                      <a:cubicBezTo>
                        <a:pt x="22" y="24"/>
                        <a:pt x="44" y="30"/>
                        <a:pt x="58" y="30"/>
                      </a:cubicBezTo>
                      <a:cubicBezTo>
                        <a:pt x="59" y="30"/>
                        <a:pt x="59" y="30"/>
                        <a:pt x="59" y="30"/>
                      </a:cubicBezTo>
                      <a:cubicBezTo>
                        <a:pt x="62" y="30"/>
                        <a:pt x="64" y="30"/>
                        <a:pt x="65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55" y="29"/>
                        <a:pt x="26" y="21"/>
                        <a:pt x="9" y="18"/>
                      </a:cubicBezTo>
                      <a:moveTo>
                        <a:pt x="14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8" y="0"/>
                        <a:pt x="3" y="0"/>
                        <a:pt x="0" y="1"/>
                      </a:cubicBezTo>
                      <a:cubicBezTo>
                        <a:pt x="5" y="2"/>
                        <a:pt x="17" y="4"/>
                        <a:pt x="29" y="4"/>
                      </a:cubicBezTo>
                      <a:cubicBezTo>
                        <a:pt x="34" y="4"/>
                        <a:pt x="39" y="4"/>
                        <a:pt x="43" y="2"/>
                      </a:cubicBezTo>
                      <a:cubicBezTo>
                        <a:pt x="36" y="2"/>
                        <a:pt x="24" y="0"/>
                        <a:pt x="1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7" name="Freeform 73"/>
                <p:cNvSpPr>
                  <a:spLocks noEditPoints="1"/>
                </p:cNvSpPr>
                <p:nvPr/>
              </p:nvSpPr>
              <p:spPr bwMode="auto">
                <a:xfrm>
                  <a:off x="2211388" y="2497138"/>
                  <a:ext cx="247650" cy="68263"/>
                </a:xfrm>
                <a:custGeom>
                  <a:avLst/>
                  <a:gdLst>
                    <a:gd name="T0" fmla="*/ 34 w 51"/>
                    <a:gd name="T1" fmla="*/ 2 h 14"/>
                    <a:gd name="T2" fmla="*/ 34 w 51"/>
                    <a:gd name="T3" fmla="*/ 2 h 14"/>
                    <a:gd name="T4" fmla="*/ 37 w 51"/>
                    <a:gd name="T5" fmla="*/ 3 h 14"/>
                    <a:gd name="T6" fmla="*/ 37 w 51"/>
                    <a:gd name="T7" fmla="*/ 3 h 14"/>
                    <a:gd name="T8" fmla="*/ 36 w 51"/>
                    <a:gd name="T9" fmla="*/ 6 h 14"/>
                    <a:gd name="T10" fmla="*/ 51 w 51"/>
                    <a:gd name="T11" fmla="*/ 14 h 14"/>
                    <a:gd name="T12" fmla="*/ 34 w 51"/>
                    <a:gd name="T13" fmla="*/ 2 h 14"/>
                    <a:gd name="T14" fmla="*/ 26 w 51"/>
                    <a:gd name="T15" fmla="*/ 0 h 14"/>
                    <a:gd name="T16" fmla="*/ 26 w 51"/>
                    <a:gd name="T17" fmla="*/ 0 h 14"/>
                    <a:gd name="T18" fmla="*/ 26 w 51"/>
                    <a:gd name="T19" fmla="*/ 0 h 14"/>
                    <a:gd name="T20" fmla="*/ 20 w 51"/>
                    <a:gd name="T21" fmla="*/ 0 h 14"/>
                    <a:gd name="T22" fmla="*/ 0 w 51"/>
                    <a:gd name="T23" fmla="*/ 12 h 14"/>
                    <a:gd name="T24" fmla="*/ 19 w 51"/>
                    <a:gd name="T25" fmla="*/ 4 h 14"/>
                    <a:gd name="T26" fmla="*/ 19 w 51"/>
                    <a:gd name="T27" fmla="*/ 0 h 14"/>
                    <a:gd name="T28" fmla="*/ 20 w 51"/>
                    <a:gd name="T29" fmla="*/ 0 h 14"/>
                    <a:gd name="T30" fmla="*/ 26 w 51"/>
                    <a:gd name="T31" fmla="*/ 0 h 14"/>
                    <a:gd name="T32" fmla="*/ 20 w 51"/>
                    <a:gd name="T3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1" h="14">
                      <a:moveTo>
                        <a:pt x="34" y="2"/>
                      </a:moveTo>
                      <a:cubicBezTo>
                        <a:pt x="34" y="2"/>
                        <a:pt x="34" y="2"/>
                        <a:pt x="34" y="2"/>
                      </a:cubicBezTo>
                      <a:cubicBezTo>
                        <a:pt x="35" y="2"/>
                        <a:pt x="36" y="2"/>
                        <a:pt x="37" y="3"/>
                      </a:cubicBezTo>
                      <a:cubicBezTo>
                        <a:pt x="37" y="3"/>
                        <a:pt x="37" y="3"/>
                        <a:pt x="37" y="3"/>
                      </a:cubicBezTo>
                      <a:cubicBezTo>
                        <a:pt x="36" y="6"/>
                        <a:pt x="36" y="6"/>
                        <a:pt x="36" y="6"/>
                      </a:cubicBezTo>
                      <a:cubicBezTo>
                        <a:pt x="43" y="7"/>
                        <a:pt x="48" y="10"/>
                        <a:pt x="51" y="14"/>
                      </a:cubicBezTo>
                      <a:cubicBezTo>
                        <a:pt x="48" y="7"/>
                        <a:pt x="42" y="4"/>
                        <a:pt x="34" y="2"/>
                      </a:cubicBezTo>
                      <a:moveTo>
                        <a:pt x="26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moveTo>
                        <a:pt x="20" y="0"/>
                      </a:moveTo>
                      <a:cubicBezTo>
                        <a:pt x="9" y="0"/>
                        <a:pt x="3" y="4"/>
                        <a:pt x="0" y="12"/>
                      </a:cubicBezTo>
                      <a:cubicBezTo>
                        <a:pt x="5" y="8"/>
                        <a:pt x="11" y="5"/>
                        <a:pt x="19" y="4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2" y="0"/>
                        <a:pt x="24" y="0"/>
                        <a:pt x="26" y="0"/>
                      </a:cubicBezTo>
                      <a:cubicBezTo>
                        <a:pt x="24" y="0"/>
                        <a:pt x="22" y="0"/>
                        <a:pt x="20" y="0"/>
                      </a:cubicBezTo>
                    </a:path>
                  </a:pathLst>
                </a:custGeom>
                <a:solidFill>
                  <a:srgbClr val="7674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8" name="Freeform 74"/>
                <p:cNvSpPr>
                  <a:spLocks/>
                </p:cNvSpPr>
                <p:nvPr/>
              </p:nvSpPr>
              <p:spPr bwMode="auto">
                <a:xfrm>
                  <a:off x="2386013" y="2525713"/>
                  <a:ext cx="84138" cy="63500"/>
                </a:xfrm>
                <a:custGeom>
                  <a:avLst/>
                  <a:gdLst>
                    <a:gd name="T0" fmla="*/ 0 w 17"/>
                    <a:gd name="T1" fmla="*/ 0 h 13"/>
                    <a:gd name="T2" fmla="*/ 0 w 17"/>
                    <a:gd name="T3" fmla="*/ 0 h 13"/>
                    <a:gd name="T4" fmla="*/ 13 w 17"/>
                    <a:gd name="T5" fmla="*/ 9 h 13"/>
                    <a:gd name="T6" fmla="*/ 17 w 17"/>
                    <a:gd name="T7" fmla="*/ 13 h 13"/>
                    <a:gd name="T8" fmla="*/ 15 w 17"/>
                    <a:gd name="T9" fmla="*/ 8 h 13"/>
                    <a:gd name="T10" fmla="*/ 0 w 17"/>
                    <a:gd name="T1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" h="1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2"/>
                        <a:pt x="9" y="5"/>
                        <a:pt x="13" y="9"/>
                      </a:cubicBezTo>
                      <a:cubicBezTo>
                        <a:pt x="14" y="10"/>
                        <a:pt x="16" y="11"/>
                        <a:pt x="17" y="13"/>
                      </a:cubicBezTo>
                      <a:cubicBezTo>
                        <a:pt x="16" y="11"/>
                        <a:pt x="16" y="10"/>
                        <a:pt x="15" y="8"/>
                      </a:cubicBezTo>
                      <a:cubicBezTo>
                        <a:pt x="12" y="4"/>
                        <a:pt x="7" y="1"/>
                        <a:pt x="0" y="0"/>
                      </a:cubicBezTo>
                    </a:path>
                  </a:pathLst>
                </a:custGeom>
                <a:solidFill>
                  <a:srgbClr val="74717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9" name="Freeform 75"/>
                <p:cNvSpPr>
                  <a:spLocks/>
                </p:cNvSpPr>
                <p:nvPr/>
              </p:nvSpPr>
              <p:spPr bwMode="auto">
                <a:xfrm>
                  <a:off x="2449513" y="2570163"/>
                  <a:ext cx="20638" cy="28575"/>
                </a:xfrm>
                <a:custGeom>
                  <a:avLst/>
                  <a:gdLst>
                    <a:gd name="T0" fmla="*/ 0 w 4"/>
                    <a:gd name="T1" fmla="*/ 0 h 6"/>
                    <a:gd name="T2" fmla="*/ 4 w 4"/>
                    <a:gd name="T3" fmla="*/ 6 h 6"/>
                    <a:gd name="T4" fmla="*/ 4 w 4"/>
                    <a:gd name="T5" fmla="*/ 4 h 6"/>
                    <a:gd name="T6" fmla="*/ 0 w 4"/>
                    <a:gd name="T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6">
                      <a:moveTo>
                        <a:pt x="0" y="0"/>
                      </a:moveTo>
                      <a:cubicBezTo>
                        <a:pt x="1" y="2"/>
                        <a:pt x="3" y="4"/>
                        <a:pt x="4" y="6"/>
                      </a:cubicBezTo>
                      <a:cubicBezTo>
                        <a:pt x="4" y="5"/>
                        <a:pt x="4" y="5"/>
                        <a:pt x="4" y="4"/>
                      </a:cubicBezTo>
                      <a:cubicBezTo>
                        <a:pt x="3" y="2"/>
                        <a:pt x="1" y="1"/>
                        <a:pt x="0" y="0"/>
                      </a:cubicBezTo>
                    </a:path>
                  </a:pathLst>
                </a:custGeom>
                <a:solidFill>
                  <a:srgbClr val="72707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0" name="Freeform 76"/>
                <p:cNvSpPr>
                  <a:spLocks noEditPoints="1"/>
                </p:cNvSpPr>
                <p:nvPr/>
              </p:nvSpPr>
              <p:spPr bwMode="auto">
                <a:xfrm>
                  <a:off x="2182813" y="2516188"/>
                  <a:ext cx="292100" cy="315913"/>
                </a:xfrm>
                <a:custGeom>
                  <a:avLst/>
                  <a:gdLst>
                    <a:gd name="T0" fmla="*/ 27 w 60"/>
                    <a:gd name="T1" fmla="*/ 64 h 65"/>
                    <a:gd name="T2" fmla="*/ 34 w 60"/>
                    <a:gd name="T3" fmla="*/ 65 h 65"/>
                    <a:gd name="T4" fmla="*/ 31 w 60"/>
                    <a:gd name="T5" fmla="*/ 64 h 65"/>
                    <a:gd name="T6" fmla="*/ 31 w 60"/>
                    <a:gd name="T7" fmla="*/ 64 h 65"/>
                    <a:gd name="T8" fmla="*/ 30 w 60"/>
                    <a:gd name="T9" fmla="*/ 64 h 65"/>
                    <a:gd name="T10" fmla="*/ 27 w 60"/>
                    <a:gd name="T11" fmla="*/ 64 h 65"/>
                    <a:gd name="T12" fmla="*/ 27 w 60"/>
                    <a:gd name="T13" fmla="*/ 64 h 65"/>
                    <a:gd name="T14" fmla="*/ 27 w 60"/>
                    <a:gd name="T15" fmla="*/ 64 h 65"/>
                    <a:gd name="T16" fmla="*/ 27 w 60"/>
                    <a:gd name="T17" fmla="*/ 64 h 65"/>
                    <a:gd name="T18" fmla="*/ 42 w 60"/>
                    <a:gd name="T19" fmla="*/ 2 h 65"/>
                    <a:gd name="T20" fmla="*/ 34 w 60"/>
                    <a:gd name="T21" fmla="*/ 65 h 65"/>
                    <a:gd name="T22" fmla="*/ 37 w 60"/>
                    <a:gd name="T23" fmla="*/ 65 h 65"/>
                    <a:gd name="T24" fmla="*/ 58 w 60"/>
                    <a:gd name="T25" fmla="*/ 35 h 65"/>
                    <a:gd name="T26" fmla="*/ 58 w 60"/>
                    <a:gd name="T27" fmla="*/ 35 h 65"/>
                    <a:gd name="T28" fmla="*/ 59 w 60"/>
                    <a:gd name="T29" fmla="*/ 17 h 65"/>
                    <a:gd name="T30" fmla="*/ 59 w 60"/>
                    <a:gd name="T31" fmla="*/ 17 h 65"/>
                    <a:gd name="T32" fmla="*/ 59 w 60"/>
                    <a:gd name="T33" fmla="*/ 17 h 65"/>
                    <a:gd name="T34" fmla="*/ 55 w 60"/>
                    <a:gd name="T35" fmla="*/ 11 h 65"/>
                    <a:gd name="T36" fmla="*/ 42 w 60"/>
                    <a:gd name="T37" fmla="*/ 2 h 65"/>
                    <a:gd name="T38" fmla="*/ 25 w 60"/>
                    <a:gd name="T39" fmla="*/ 0 h 65"/>
                    <a:gd name="T40" fmla="*/ 6 w 60"/>
                    <a:gd name="T41" fmla="*/ 8 h 65"/>
                    <a:gd name="T42" fmla="*/ 6 w 60"/>
                    <a:gd name="T43" fmla="*/ 8 h 65"/>
                    <a:gd name="T44" fmla="*/ 6 w 60"/>
                    <a:gd name="T45" fmla="*/ 8 h 65"/>
                    <a:gd name="T46" fmla="*/ 6 w 60"/>
                    <a:gd name="T47" fmla="*/ 8 h 65"/>
                    <a:gd name="T48" fmla="*/ 3 w 60"/>
                    <a:gd name="T49" fmla="*/ 19 h 65"/>
                    <a:gd name="T50" fmla="*/ 1 w 60"/>
                    <a:gd name="T51" fmla="*/ 28 h 65"/>
                    <a:gd name="T52" fmla="*/ 0 w 60"/>
                    <a:gd name="T53" fmla="*/ 40 h 65"/>
                    <a:gd name="T54" fmla="*/ 0 w 60"/>
                    <a:gd name="T55" fmla="*/ 40 h 65"/>
                    <a:gd name="T56" fmla="*/ 2 w 60"/>
                    <a:gd name="T57" fmla="*/ 50 h 65"/>
                    <a:gd name="T58" fmla="*/ 20 w 60"/>
                    <a:gd name="T59" fmla="*/ 62 h 65"/>
                    <a:gd name="T60" fmla="*/ 17 w 60"/>
                    <a:gd name="T61" fmla="*/ 61 h 65"/>
                    <a:gd name="T62" fmla="*/ 25 w 60"/>
                    <a:gd name="T63" fmla="*/ 0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0" h="65">
                      <a:moveTo>
                        <a:pt x="27" y="64"/>
                      </a:moveTo>
                      <a:cubicBezTo>
                        <a:pt x="30" y="64"/>
                        <a:pt x="32" y="64"/>
                        <a:pt x="34" y="65"/>
                      </a:cubicBezTo>
                      <a:cubicBezTo>
                        <a:pt x="33" y="65"/>
                        <a:pt x="32" y="64"/>
                        <a:pt x="31" y="64"/>
                      </a:cubicBezTo>
                      <a:cubicBezTo>
                        <a:pt x="31" y="64"/>
                        <a:pt x="31" y="64"/>
                        <a:pt x="31" y="64"/>
                      </a:cubicBezTo>
                      <a:cubicBezTo>
                        <a:pt x="31" y="64"/>
                        <a:pt x="31" y="64"/>
                        <a:pt x="30" y="64"/>
                      </a:cubicBezTo>
                      <a:cubicBezTo>
                        <a:pt x="29" y="64"/>
                        <a:pt x="28" y="64"/>
                        <a:pt x="27" y="64"/>
                      </a:cubicBezTo>
                      <a:moveTo>
                        <a:pt x="27" y="64"/>
                      </a:move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moveTo>
                        <a:pt x="42" y="2"/>
                      </a:moveTo>
                      <a:cubicBezTo>
                        <a:pt x="34" y="65"/>
                        <a:pt x="34" y="65"/>
                        <a:pt x="34" y="65"/>
                      </a:cubicBezTo>
                      <a:cubicBezTo>
                        <a:pt x="35" y="65"/>
                        <a:pt x="36" y="65"/>
                        <a:pt x="37" y="65"/>
                      </a:cubicBezTo>
                      <a:cubicBezTo>
                        <a:pt x="51" y="65"/>
                        <a:pt x="54" y="57"/>
                        <a:pt x="58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28"/>
                        <a:pt x="60" y="22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8" y="15"/>
                        <a:pt x="56" y="13"/>
                        <a:pt x="55" y="11"/>
                      </a:cubicBezTo>
                      <a:cubicBezTo>
                        <a:pt x="51" y="7"/>
                        <a:pt x="47" y="4"/>
                        <a:pt x="42" y="2"/>
                      </a:cubicBezTo>
                      <a:moveTo>
                        <a:pt x="25" y="0"/>
                      </a:moveTo>
                      <a:cubicBezTo>
                        <a:pt x="17" y="1"/>
                        <a:pt x="11" y="4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5" y="11"/>
                        <a:pt x="4" y="15"/>
                        <a:pt x="3" y="19"/>
                      </a:cubicBezTo>
                      <a:cubicBezTo>
                        <a:pt x="2" y="22"/>
                        <a:pt x="1" y="25"/>
                        <a:pt x="1" y="28"/>
                      </a:cubicBezTo>
                      <a:cubicBezTo>
                        <a:pt x="0" y="32"/>
                        <a:pt x="0" y="36"/>
                        <a:pt x="0" y="40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4"/>
                        <a:pt x="0" y="47"/>
                        <a:pt x="2" y="50"/>
                      </a:cubicBezTo>
                      <a:cubicBezTo>
                        <a:pt x="4" y="56"/>
                        <a:pt x="10" y="60"/>
                        <a:pt x="20" y="62"/>
                      </a:cubicBezTo>
                      <a:cubicBezTo>
                        <a:pt x="19" y="62"/>
                        <a:pt x="18" y="62"/>
                        <a:pt x="17" y="61"/>
                      </a:cubicBezTo>
                      <a:cubicBezTo>
                        <a:pt x="25" y="0"/>
                        <a:pt x="25" y="0"/>
                        <a:pt x="25" y="0"/>
                      </a:cubicBezTo>
                    </a:path>
                  </a:pathLst>
                </a:custGeom>
                <a:solidFill>
                  <a:srgbClr val="E8CD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1" name="Freeform 77"/>
                <p:cNvSpPr>
                  <a:spLocks/>
                </p:cNvSpPr>
                <p:nvPr/>
              </p:nvSpPr>
              <p:spPr bwMode="auto">
                <a:xfrm>
                  <a:off x="2157413" y="2555876"/>
                  <a:ext cx="322263" cy="287338"/>
                </a:xfrm>
                <a:custGeom>
                  <a:avLst/>
                  <a:gdLst>
                    <a:gd name="T0" fmla="*/ 11 w 66"/>
                    <a:gd name="T1" fmla="*/ 0 h 59"/>
                    <a:gd name="T2" fmla="*/ 8 w 66"/>
                    <a:gd name="T3" fmla="*/ 2 h 59"/>
                    <a:gd name="T4" fmla="*/ 4 w 66"/>
                    <a:gd name="T5" fmla="*/ 20 h 59"/>
                    <a:gd name="T6" fmla="*/ 30 w 66"/>
                    <a:gd name="T7" fmla="*/ 57 h 59"/>
                    <a:gd name="T8" fmla="*/ 42 w 66"/>
                    <a:gd name="T9" fmla="*/ 59 h 59"/>
                    <a:gd name="T10" fmla="*/ 43 w 66"/>
                    <a:gd name="T11" fmla="*/ 59 h 59"/>
                    <a:gd name="T12" fmla="*/ 65 w 66"/>
                    <a:gd name="T13" fmla="*/ 27 h 59"/>
                    <a:gd name="T14" fmla="*/ 66 w 66"/>
                    <a:gd name="T15" fmla="*/ 13 h 59"/>
                    <a:gd name="T16" fmla="*/ 64 w 66"/>
                    <a:gd name="T17" fmla="*/ 9 h 59"/>
                    <a:gd name="T18" fmla="*/ 65 w 66"/>
                    <a:gd name="T19" fmla="*/ 14 h 59"/>
                    <a:gd name="T20" fmla="*/ 65 w 66"/>
                    <a:gd name="T21" fmla="*/ 15 h 59"/>
                    <a:gd name="T22" fmla="*/ 63 w 66"/>
                    <a:gd name="T23" fmla="*/ 27 h 59"/>
                    <a:gd name="T24" fmla="*/ 63 w 66"/>
                    <a:gd name="T25" fmla="*/ 27 h 59"/>
                    <a:gd name="T26" fmla="*/ 42 w 66"/>
                    <a:gd name="T27" fmla="*/ 57 h 59"/>
                    <a:gd name="T28" fmla="*/ 42 w 66"/>
                    <a:gd name="T29" fmla="*/ 57 h 59"/>
                    <a:gd name="T30" fmla="*/ 42 w 66"/>
                    <a:gd name="T31" fmla="*/ 57 h 59"/>
                    <a:gd name="T32" fmla="*/ 39 w 66"/>
                    <a:gd name="T33" fmla="*/ 57 h 59"/>
                    <a:gd name="T34" fmla="*/ 39 w 66"/>
                    <a:gd name="T35" fmla="*/ 57 h 59"/>
                    <a:gd name="T36" fmla="*/ 39 w 66"/>
                    <a:gd name="T37" fmla="*/ 57 h 59"/>
                    <a:gd name="T38" fmla="*/ 32 w 66"/>
                    <a:gd name="T39" fmla="*/ 56 h 59"/>
                    <a:gd name="T40" fmla="*/ 32 w 66"/>
                    <a:gd name="T41" fmla="*/ 56 h 59"/>
                    <a:gd name="T42" fmla="*/ 30 w 66"/>
                    <a:gd name="T43" fmla="*/ 55 h 59"/>
                    <a:gd name="T44" fmla="*/ 29 w 66"/>
                    <a:gd name="T45" fmla="*/ 55 h 59"/>
                    <a:gd name="T46" fmla="*/ 26 w 66"/>
                    <a:gd name="T47" fmla="*/ 54 h 59"/>
                    <a:gd name="T48" fmla="*/ 26 w 66"/>
                    <a:gd name="T49" fmla="*/ 54 h 59"/>
                    <a:gd name="T50" fmla="*/ 26 w 66"/>
                    <a:gd name="T51" fmla="*/ 54 h 59"/>
                    <a:gd name="T52" fmla="*/ 7 w 66"/>
                    <a:gd name="T53" fmla="*/ 42 h 59"/>
                    <a:gd name="T54" fmla="*/ 6 w 66"/>
                    <a:gd name="T55" fmla="*/ 20 h 59"/>
                    <a:gd name="T56" fmla="*/ 8 w 66"/>
                    <a:gd name="T57" fmla="*/ 11 h 59"/>
                    <a:gd name="T58" fmla="*/ 11 w 66"/>
                    <a:gd name="T59" fmla="*/ 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6" h="59">
                      <a:moveTo>
                        <a:pt x="11" y="0"/>
                      </a:moveTo>
                      <a:cubicBezTo>
                        <a:pt x="10" y="1"/>
                        <a:pt x="9" y="1"/>
                        <a:pt x="8" y="2"/>
                      </a:cubicBezTo>
                      <a:cubicBezTo>
                        <a:pt x="7" y="7"/>
                        <a:pt x="6" y="13"/>
                        <a:pt x="4" y="20"/>
                      </a:cubicBezTo>
                      <a:cubicBezTo>
                        <a:pt x="0" y="43"/>
                        <a:pt x="5" y="53"/>
                        <a:pt x="30" y="57"/>
                      </a:cubicBezTo>
                      <a:cubicBezTo>
                        <a:pt x="35" y="58"/>
                        <a:pt x="39" y="59"/>
                        <a:pt x="42" y="59"/>
                      </a:cubicBezTo>
                      <a:cubicBezTo>
                        <a:pt x="43" y="59"/>
                        <a:pt x="43" y="59"/>
                        <a:pt x="43" y="59"/>
                      </a:cubicBezTo>
                      <a:cubicBezTo>
                        <a:pt x="57" y="58"/>
                        <a:pt x="61" y="50"/>
                        <a:pt x="65" y="27"/>
                      </a:cubicBezTo>
                      <a:cubicBezTo>
                        <a:pt x="66" y="22"/>
                        <a:pt x="66" y="17"/>
                        <a:pt x="66" y="13"/>
                      </a:cubicBezTo>
                      <a:cubicBezTo>
                        <a:pt x="66" y="12"/>
                        <a:pt x="65" y="11"/>
                        <a:pt x="64" y="9"/>
                      </a:cubicBezTo>
                      <a:cubicBezTo>
                        <a:pt x="64" y="11"/>
                        <a:pt x="65" y="13"/>
                        <a:pt x="65" y="14"/>
                      </a:cubicBezTo>
                      <a:cubicBezTo>
                        <a:pt x="65" y="15"/>
                        <a:pt x="65" y="15"/>
                        <a:pt x="65" y="15"/>
                      </a:cubicBezTo>
                      <a:cubicBezTo>
                        <a:pt x="65" y="18"/>
                        <a:pt x="64" y="22"/>
                        <a:pt x="63" y="2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59" y="49"/>
                        <a:pt x="56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1" y="57"/>
                        <a:pt x="40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7" y="56"/>
                        <a:pt x="35" y="56"/>
                        <a:pt x="32" y="56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1" y="56"/>
                        <a:pt x="31" y="55"/>
                        <a:pt x="30" y="55"/>
                      </a:cubicBezTo>
                      <a:cubicBezTo>
                        <a:pt x="30" y="55"/>
                        <a:pt x="30" y="55"/>
                        <a:pt x="29" y="55"/>
                      </a:cubicBezTo>
                      <a:cubicBezTo>
                        <a:pt x="28" y="55"/>
                        <a:pt x="27" y="55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15" y="52"/>
                        <a:pt x="9" y="48"/>
                        <a:pt x="7" y="42"/>
                      </a:cubicBezTo>
                      <a:cubicBezTo>
                        <a:pt x="4" y="37"/>
                        <a:pt x="4" y="29"/>
                        <a:pt x="6" y="20"/>
                      </a:cubicBezTo>
                      <a:cubicBezTo>
                        <a:pt x="6" y="17"/>
                        <a:pt x="7" y="14"/>
                        <a:pt x="8" y="11"/>
                      </a:cubicBezTo>
                      <a:cubicBezTo>
                        <a:pt x="9" y="7"/>
                        <a:pt x="10" y="3"/>
                        <a:pt x="11" y="0"/>
                      </a:cubicBezTo>
                    </a:path>
                  </a:pathLst>
                </a:custGeom>
                <a:solidFill>
                  <a:srgbClr val="B477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2" name="Freeform 78"/>
                <p:cNvSpPr>
                  <a:spLocks noEditPoints="1"/>
                </p:cNvSpPr>
                <p:nvPr/>
              </p:nvSpPr>
              <p:spPr bwMode="auto">
                <a:xfrm>
                  <a:off x="2192338" y="2555876"/>
                  <a:ext cx="282575" cy="276225"/>
                </a:xfrm>
                <a:custGeom>
                  <a:avLst/>
                  <a:gdLst>
                    <a:gd name="T0" fmla="*/ 32 w 58"/>
                    <a:gd name="T1" fmla="*/ 57 h 57"/>
                    <a:gd name="T2" fmla="*/ 32 w 58"/>
                    <a:gd name="T3" fmla="*/ 57 h 57"/>
                    <a:gd name="T4" fmla="*/ 35 w 58"/>
                    <a:gd name="T5" fmla="*/ 57 h 57"/>
                    <a:gd name="T6" fmla="*/ 35 w 58"/>
                    <a:gd name="T7" fmla="*/ 57 h 57"/>
                    <a:gd name="T8" fmla="*/ 32 w 58"/>
                    <a:gd name="T9" fmla="*/ 57 h 57"/>
                    <a:gd name="T10" fmla="*/ 25 w 58"/>
                    <a:gd name="T11" fmla="*/ 56 h 57"/>
                    <a:gd name="T12" fmla="*/ 32 w 58"/>
                    <a:gd name="T13" fmla="*/ 57 h 57"/>
                    <a:gd name="T14" fmla="*/ 32 w 58"/>
                    <a:gd name="T15" fmla="*/ 57 h 57"/>
                    <a:gd name="T16" fmla="*/ 25 w 58"/>
                    <a:gd name="T17" fmla="*/ 56 h 57"/>
                    <a:gd name="T18" fmla="*/ 25 w 58"/>
                    <a:gd name="T19" fmla="*/ 56 h 57"/>
                    <a:gd name="T20" fmla="*/ 25 w 58"/>
                    <a:gd name="T21" fmla="*/ 56 h 57"/>
                    <a:gd name="T22" fmla="*/ 25 w 58"/>
                    <a:gd name="T23" fmla="*/ 56 h 57"/>
                    <a:gd name="T24" fmla="*/ 25 w 58"/>
                    <a:gd name="T25" fmla="*/ 56 h 57"/>
                    <a:gd name="T26" fmla="*/ 25 w 58"/>
                    <a:gd name="T27" fmla="*/ 56 h 57"/>
                    <a:gd name="T28" fmla="*/ 25 w 58"/>
                    <a:gd name="T29" fmla="*/ 56 h 57"/>
                    <a:gd name="T30" fmla="*/ 19 w 58"/>
                    <a:gd name="T31" fmla="*/ 54 h 57"/>
                    <a:gd name="T32" fmla="*/ 19 w 58"/>
                    <a:gd name="T33" fmla="*/ 54 h 57"/>
                    <a:gd name="T34" fmla="*/ 19 w 58"/>
                    <a:gd name="T35" fmla="*/ 54 h 57"/>
                    <a:gd name="T36" fmla="*/ 0 w 58"/>
                    <a:gd name="T37" fmla="*/ 42 h 57"/>
                    <a:gd name="T38" fmla="*/ 19 w 58"/>
                    <a:gd name="T39" fmla="*/ 54 h 57"/>
                    <a:gd name="T40" fmla="*/ 18 w 58"/>
                    <a:gd name="T41" fmla="*/ 54 h 57"/>
                    <a:gd name="T42" fmla="*/ 0 w 58"/>
                    <a:gd name="T43" fmla="*/ 42 h 57"/>
                    <a:gd name="T44" fmla="*/ 57 w 58"/>
                    <a:gd name="T45" fmla="*/ 9 h 57"/>
                    <a:gd name="T46" fmla="*/ 56 w 58"/>
                    <a:gd name="T47" fmla="*/ 27 h 57"/>
                    <a:gd name="T48" fmla="*/ 56 w 58"/>
                    <a:gd name="T49" fmla="*/ 27 h 57"/>
                    <a:gd name="T50" fmla="*/ 56 w 58"/>
                    <a:gd name="T51" fmla="*/ 27 h 57"/>
                    <a:gd name="T52" fmla="*/ 58 w 58"/>
                    <a:gd name="T53" fmla="*/ 15 h 57"/>
                    <a:gd name="T54" fmla="*/ 58 w 58"/>
                    <a:gd name="T55" fmla="*/ 14 h 57"/>
                    <a:gd name="T56" fmla="*/ 57 w 58"/>
                    <a:gd name="T57" fmla="*/ 9 h 57"/>
                    <a:gd name="T58" fmla="*/ 57 w 58"/>
                    <a:gd name="T59" fmla="*/ 9 h 57"/>
                    <a:gd name="T60" fmla="*/ 4 w 58"/>
                    <a:gd name="T61" fmla="*/ 0 h 57"/>
                    <a:gd name="T62" fmla="*/ 4 w 58"/>
                    <a:gd name="T63" fmla="*/ 0 h 57"/>
                    <a:gd name="T64" fmla="*/ 4 w 58"/>
                    <a:gd name="T65" fmla="*/ 0 h 57"/>
                    <a:gd name="T66" fmla="*/ 1 w 58"/>
                    <a:gd name="T67" fmla="*/ 11 h 57"/>
                    <a:gd name="T68" fmla="*/ 4 w 58"/>
                    <a:gd name="T69" fmla="*/ 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8" h="57">
                      <a:moveTo>
                        <a:pt x="32" y="57"/>
                      </a:move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3" y="57"/>
                        <a:pt x="34" y="57"/>
                        <a:pt x="35" y="57"/>
                      </a:cubicBezTo>
                      <a:cubicBezTo>
                        <a:pt x="35" y="57"/>
                        <a:pt x="35" y="57"/>
                        <a:pt x="35" y="57"/>
                      </a:cubicBezTo>
                      <a:cubicBezTo>
                        <a:pt x="34" y="57"/>
                        <a:pt x="33" y="57"/>
                        <a:pt x="32" y="57"/>
                      </a:cubicBezTo>
                      <a:moveTo>
                        <a:pt x="25" y="56"/>
                      </a:moveTo>
                      <a:cubicBezTo>
                        <a:pt x="28" y="56"/>
                        <a:pt x="30" y="56"/>
                        <a:pt x="32" y="57"/>
                      </a:cubicBez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0" y="56"/>
                        <a:pt x="28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moveTo>
                        <a:pt x="19" y="54"/>
                      </a:moveTo>
                      <a:cubicBezTo>
                        <a:pt x="19" y="54"/>
                        <a:pt x="19" y="54"/>
                        <a:pt x="19" y="54"/>
                      </a:cubicBezTo>
                      <a:cubicBezTo>
                        <a:pt x="19" y="54"/>
                        <a:pt x="19" y="54"/>
                        <a:pt x="19" y="54"/>
                      </a:cubicBezTo>
                      <a:moveTo>
                        <a:pt x="0" y="42"/>
                      </a:moveTo>
                      <a:cubicBezTo>
                        <a:pt x="2" y="48"/>
                        <a:pt x="8" y="52"/>
                        <a:pt x="19" y="54"/>
                      </a:cubicBezTo>
                      <a:cubicBezTo>
                        <a:pt x="18" y="54"/>
                        <a:pt x="18" y="54"/>
                        <a:pt x="18" y="54"/>
                      </a:cubicBezTo>
                      <a:cubicBezTo>
                        <a:pt x="8" y="52"/>
                        <a:pt x="2" y="48"/>
                        <a:pt x="0" y="42"/>
                      </a:cubicBezTo>
                      <a:moveTo>
                        <a:pt x="57" y="9"/>
                      </a:moveTo>
                      <a:cubicBezTo>
                        <a:pt x="58" y="14"/>
                        <a:pt x="58" y="20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7" y="22"/>
                        <a:pt x="58" y="18"/>
                        <a:pt x="58" y="15"/>
                      </a:cubicBezTo>
                      <a:cubicBezTo>
                        <a:pt x="58" y="14"/>
                        <a:pt x="58" y="14"/>
                        <a:pt x="58" y="14"/>
                      </a:cubicBezTo>
                      <a:cubicBezTo>
                        <a:pt x="58" y="13"/>
                        <a:pt x="57" y="11"/>
                        <a:pt x="57" y="9"/>
                      </a:cubicBezTo>
                      <a:cubicBezTo>
                        <a:pt x="57" y="9"/>
                        <a:pt x="57" y="9"/>
                        <a:pt x="57" y="9"/>
                      </a:cubicBezTo>
                      <a:moveTo>
                        <a:pt x="4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"/>
                        <a:pt x="2" y="7"/>
                        <a:pt x="1" y="11"/>
                      </a:cubicBezTo>
                      <a:cubicBezTo>
                        <a:pt x="2" y="7"/>
                        <a:pt x="3" y="3"/>
                        <a:pt x="4" y="0"/>
                      </a:cubicBezTo>
                    </a:path>
                  </a:pathLst>
                </a:custGeom>
                <a:solidFill>
                  <a:srgbClr val="BD8B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3" name="Freeform 79"/>
                <p:cNvSpPr>
                  <a:spLocks/>
                </p:cNvSpPr>
                <p:nvPr/>
              </p:nvSpPr>
              <p:spPr bwMode="auto">
                <a:xfrm>
                  <a:off x="1870076" y="3154363"/>
                  <a:ext cx="536575" cy="730250"/>
                </a:xfrm>
                <a:custGeom>
                  <a:avLst/>
                  <a:gdLst>
                    <a:gd name="T0" fmla="*/ 45 w 110"/>
                    <a:gd name="T1" fmla="*/ 0 h 150"/>
                    <a:gd name="T2" fmla="*/ 39 w 110"/>
                    <a:gd name="T3" fmla="*/ 14 h 150"/>
                    <a:gd name="T4" fmla="*/ 10 w 110"/>
                    <a:gd name="T5" fmla="*/ 113 h 150"/>
                    <a:gd name="T6" fmla="*/ 0 w 110"/>
                    <a:gd name="T7" fmla="*/ 139 h 150"/>
                    <a:gd name="T8" fmla="*/ 0 w 110"/>
                    <a:gd name="T9" fmla="*/ 139 h 150"/>
                    <a:gd name="T10" fmla="*/ 8 w 110"/>
                    <a:gd name="T11" fmla="*/ 150 h 150"/>
                    <a:gd name="T12" fmla="*/ 20 w 110"/>
                    <a:gd name="T13" fmla="*/ 144 h 150"/>
                    <a:gd name="T14" fmla="*/ 55 w 110"/>
                    <a:gd name="T15" fmla="*/ 108 h 150"/>
                    <a:gd name="T16" fmla="*/ 69 w 110"/>
                    <a:gd name="T17" fmla="*/ 111 h 150"/>
                    <a:gd name="T18" fmla="*/ 94 w 110"/>
                    <a:gd name="T19" fmla="*/ 118 h 150"/>
                    <a:gd name="T20" fmla="*/ 101 w 110"/>
                    <a:gd name="T21" fmla="*/ 101 h 150"/>
                    <a:gd name="T22" fmla="*/ 108 w 110"/>
                    <a:gd name="T23" fmla="*/ 17 h 150"/>
                    <a:gd name="T24" fmla="*/ 110 w 110"/>
                    <a:gd name="T25" fmla="*/ 11 h 150"/>
                    <a:gd name="T26" fmla="*/ 110 w 110"/>
                    <a:gd name="T27" fmla="*/ 11 h 150"/>
                    <a:gd name="T28" fmla="*/ 106 w 110"/>
                    <a:gd name="T29" fmla="*/ 8 h 150"/>
                    <a:gd name="T30" fmla="*/ 74 w 110"/>
                    <a:gd name="T31" fmla="*/ 12 h 150"/>
                    <a:gd name="T32" fmla="*/ 45 w 110"/>
                    <a:gd name="T33" fmla="*/ 0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0" h="150">
                      <a:moveTo>
                        <a:pt x="45" y="0"/>
                      </a:moveTo>
                      <a:cubicBezTo>
                        <a:pt x="42" y="0"/>
                        <a:pt x="40" y="3"/>
                        <a:pt x="39" y="14"/>
                      </a:cubicBezTo>
                      <a:cubicBezTo>
                        <a:pt x="36" y="45"/>
                        <a:pt x="30" y="79"/>
                        <a:pt x="10" y="113"/>
                      </a:cubicBezTo>
                      <a:cubicBezTo>
                        <a:pt x="3" y="124"/>
                        <a:pt x="0" y="133"/>
                        <a:pt x="0" y="139"/>
                      </a:cubicBezTo>
                      <a:cubicBezTo>
                        <a:pt x="0" y="139"/>
                        <a:pt x="0" y="139"/>
                        <a:pt x="0" y="139"/>
                      </a:cubicBezTo>
                      <a:cubicBezTo>
                        <a:pt x="0" y="146"/>
                        <a:pt x="3" y="150"/>
                        <a:pt x="8" y="150"/>
                      </a:cubicBezTo>
                      <a:cubicBezTo>
                        <a:pt x="11" y="150"/>
                        <a:pt x="16" y="148"/>
                        <a:pt x="20" y="144"/>
                      </a:cubicBezTo>
                      <a:cubicBezTo>
                        <a:pt x="32" y="131"/>
                        <a:pt x="35" y="108"/>
                        <a:pt x="55" y="108"/>
                      </a:cubicBezTo>
                      <a:cubicBezTo>
                        <a:pt x="58" y="108"/>
                        <a:pt x="63" y="109"/>
                        <a:pt x="69" y="111"/>
                      </a:cubicBezTo>
                      <a:cubicBezTo>
                        <a:pt x="81" y="116"/>
                        <a:pt x="89" y="118"/>
                        <a:pt x="94" y="118"/>
                      </a:cubicBezTo>
                      <a:cubicBezTo>
                        <a:pt x="103" y="118"/>
                        <a:pt x="104" y="112"/>
                        <a:pt x="101" y="101"/>
                      </a:cubicBezTo>
                      <a:cubicBezTo>
                        <a:pt x="97" y="83"/>
                        <a:pt x="100" y="35"/>
                        <a:pt x="108" y="17"/>
                      </a:cubicBezTo>
                      <a:cubicBezTo>
                        <a:pt x="110" y="14"/>
                        <a:pt x="110" y="13"/>
                        <a:pt x="110" y="11"/>
                      </a:cubicBezTo>
                      <a:cubicBezTo>
                        <a:pt x="110" y="11"/>
                        <a:pt x="110" y="11"/>
                        <a:pt x="110" y="11"/>
                      </a:cubicBezTo>
                      <a:cubicBezTo>
                        <a:pt x="110" y="9"/>
                        <a:pt x="109" y="8"/>
                        <a:pt x="106" y="8"/>
                      </a:cubicBezTo>
                      <a:cubicBezTo>
                        <a:pt x="99" y="8"/>
                        <a:pt x="87" y="12"/>
                        <a:pt x="74" y="12"/>
                      </a:cubicBezTo>
                      <a:cubicBezTo>
                        <a:pt x="61" y="12"/>
                        <a:pt x="51" y="0"/>
                        <a:pt x="45" y="0"/>
                      </a:cubicBezTo>
                    </a:path>
                  </a:pathLst>
                </a:custGeom>
                <a:solidFill>
                  <a:srgbClr val="DBAB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4" name="Freeform 80"/>
                <p:cNvSpPr>
                  <a:spLocks/>
                </p:cNvSpPr>
                <p:nvPr/>
              </p:nvSpPr>
              <p:spPr bwMode="auto">
                <a:xfrm>
                  <a:off x="1874838" y="4546601"/>
                  <a:ext cx="584200" cy="1465263"/>
                </a:xfrm>
                <a:custGeom>
                  <a:avLst/>
                  <a:gdLst>
                    <a:gd name="T0" fmla="*/ 120 w 120"/>
                    <a:gd name="T1" fmla="*/ 0 h 301"/>
                    <a:gd name="T2" fmla="*/ 120 w 120"/>
                    <a:gd name="T3" fmla="*/ 0 h 301"/>
                    <a:gd name="T4" fmla="*/ 69 w 120"/>
                    <a:gd name="T5" fmla="*/ 86 h 301"/>
                    <a:gd name="T6" fmla="*/ 1 w 120"/>
                    <a:gd name="T7" fmla="*/ 275 h 301"/>
                    <a:gd name="T8" fmla="*/ 0 w 120"/>
                    <a:gd name="T9" fmla="*/ 301 h 301"/>
                    <a:gd name="T10" fmla="*/ 31 w 120"/>
                    <a:gd name="T11" fmla="*/ 301 h 301"/>
                    <a:gd name="T12" fmla="*/ 62 w 120"/>
                    <a:gd name="T13" fmla="*/ 169 h 301"/>
                    <a:gd name="T14" fmla="*/ 119 w 120"/>
                    <a:gd name="T15" fmla="*/ 3 h 301"/>
                    <a:gd name="T16" fmla="*/ 120 w 120"/>
                    <a:gd name="T17" fmla="*/ 1 h 301"/>
                    <a:gd name="T18" fmla="*/ 120 w 120"/>
                    <a:gd name="T19" fmla="*/ 0 h 301"/>
                    <a:gd name="T20" fmla="*/ 120 w 120"/>
                    <a:gd name="T21" fmla="*/ 0 h 3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0" h="301">
                      <a:moveTo>
                        <a:pt x="120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18" y="1"/>
                        <a:pt x="92" y="51"/>
                        <a:pt x="69" y="86"/>
                      </a:cubicBezTo>
                      <a:cubicBezTo>
                        <a:pt x="43" y="126"/>
                        <a:pt x="9" y="188"/>
                        <a:pt x="1" y="275"/>
                      </a:cubicBezTo>
                      <a:cubicBezTo>
                        <a:pt x="1" y="283"/>
                        <a:pt x="0" y="292"/>
                        <a:pt x="0" y="301"/>
                      </a:cubicBezTo>
                      <a:cubicBezTo>
                        <a:pt x="31" y="301"/>
                        <a:pt x="31" y="301"/>
                        <a:pt x="31" y="301"/>
                      </a:cubicBezTo>
                      <a:cubicBezTo>
                        <a:pt x="38" y="229"/>
                        <a:pt x="52" y="204"/>
                        <a:pt x="62" y="169"/>
                      </a:cubicBezTo>
                      <a:cubicBezTo>
                        <a:pt x="73" y="124"/>
                        <a:pt x="116" y="30"/>
                        <a:pt x="119" y="3"/>
                      </a:cubicBezTo>
                      <a:cubicBezTo>
                        <a:pt x="120" y="2"/>
                        <a:pt x="120" y="1"/>
                        <a:pt x="120" y="1"/>
                      </a:cubicBez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0"/>
                        <a:pt x="120" y="0"/>
                        <a:pt x="120" y="0"/>
                      </a:cubicBezTo>
                    </a:path>
                  </a:pathLst>
                </a:custGeom>
                <a:solidFill>
                  <a:srgbClr val="E0B2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5" name="Freeform 8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1 w 3"/>
                    <a:gd name="T3" fmla="*/ 0 h 1"/>
                    <a:gd name="T4" fmla="*/ 3 w 3"/>
                    <a:gd name="T5" fmla="*/ 1 h 1"/>
                    <a:gd name="T6" fmla="*/ 1 w 3"/>
                    <a:gd name="T7" fmla="*/ 0 h 1"/>
                    <a:gd name="T8" fmla="*/ 1 w 3"/>
                    <a:gd name="T9" fmla="*/ 0 h 1"/>
                    <a:gd name="T10" fmla="*/ 1 w 3"/>
                    <a:gd name="T11" fmla="*/ 0 h 1"/>
                    <a:gd name="T12" fmla="*/ 1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6" name="Freeform 82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3 w 3"/>
                    <a:gd name="T3" fmla="*/ 3 w 3"/>
                    <a:gd name="T4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7" name="Freeform 83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9525" cy="0"/>
                </a:xfrm>
                <a:custGeom>
                  <a:avLst/>
                  <a:gdLst>
                    <a:gd name="T0" fmla="*/ 1 w 2"/>
                    <a:gd name="T1" fmla="*/ 2 w 2"/>
                    <a:gd name="T2" fmla="*/ 2 w 2"/>
                    <a:gd name="T3" fmla="*/ 1 w 2"/>
                    <a:gd name="T4" fmla="*/ 0 w 2"/>
                    <a:gd name="T5" fmla="*/ 1 w 2"/>
                    <a:gd name="T6" fmla="*/ 0 w 2"/>
                    <a:gd name="T7" fmla="*/ 0 w 2"/>
                    <a:gd name="T8" fmla="*/ 0 w 2"/>
                    <a:gd name="T9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2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8" name="Freeform 84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  <a:gd name="T3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9" name="Freeform 8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0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0" name="Freeform 8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0 w 3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1" name="Freeform 87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2" name="Freeform 8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3" name="Freeform 89"/>
                <p:cNvSpPr>
                  <a:spLocks/>
                </p:cNvSpPr>
                <p:nvPr/>
              </p:nvSpPr>
              <p:spPr bwMode="auto">
                <a:xfrm>
                  <a:off x="2303463" y="2822576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2 w 2"/>
                    <a:gd name="T5" fmla="*/ 1 h 1"/>
                    <a:gd name="T6" fmla="*/ 1 w 2"/>
                    <a:gd name="T7" fmla="*/ 0 h 1"/>
                    <a:gd name="T8" fmla="*/ 0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4" name="Freeform 90"/>
                <p:cNvSpPr>
                  <a:spLocks noEditPoints="1"/>
                </p:cNvSpPr>
                <p:nvPr/>
              </p:nvSpPr>
              <p:spPr bwMode="auto">
                <a:xfrm>
                  <a:off x="2303463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  <a:gd name="T4" fmla="*/ 0 w 1"/>
                    <a:gd name="T5" fmla="*/ 0 w 1"/>
                    <a:gd name="T6" fmla="*/ 0 w 1"/>
                    <a:gd name="T7" fmla="*/ 0 w 1"/>
                    <a:gd name="T8" fmla="*/ 0 w 1"/>
                    <a:gd name="T9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5" name="Freeform 91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6" name="Freeform 92"/>
                <p:cNvSpPr>
                  <a:spLocks/>
                </p:cNvSpPr>
                <p:nvPr/>
              </p:nvSpPr>
              <p:spPr bwMode="auto">
                <a:xfrm>
                  <a:off x="2328863" y="2827338"/>
                  <a:ext cx="4763" cy="0"/>
                </a:xfrm>
                <a:custGeom>
                  <a:avLst/>
                  <a:gdLst>
                    <a:gd name="T0" fmla="*/ 0 w 1"/>
                    <a:gd name="T1" fmla="*/ 1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7" name="Freeform 93"/>
                <p:cNvSpPr>
                  <a:spLocks noEditPoints="1"/>
                </p:cNvSpPr>
                <p:nvPr/>
              </p:nvSpPr>
              <p:spPr bwMode="auto">
                <a:xfrm>
                  <a:off x="2338388" y="2497138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  <a:gd name="T5" fmla="*/ 0 h 1"/>
                    <a:gd name="T6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8" name="Freeform 94"/>
                <p:cNvSpPr>
                  <a:spLocks/>
                </p:cNvSpPr>
                <p:nvPr/>
              </p:nvSpPr>
              <p:spPr bwMode="auto">
                <a:xfrm>
                  <a:off x="2303463" y="2497138"/>
                  <a:ext cx="34925" cy="19050"/>
                </a:xfrm>
                <a:custGeom>
                  <a:avLst/>
                  <a:gdLst>
                    <a:gd name="T0" fmla="*/ 1 w 7"/>
                    <a:gd name="T1" fmla="*/ 0 h 4"/>
                    <a:gd name="T2" fmla="*/ 0 w 7"/>
                    <a:gd name="T3" fmla="*/ 0 h 4"/>
                    <a:gd name="T4" fmla="*/ 0 w 7"/>
                    <a:gd name="T5" fmla="*/ 4 h 4"/>
                    <a:gd name="T6" fmla="*/ 3 w 7"/>
                    <a:gd name="T7" fmla="*/ 4 h 4"/>
                    <a:gd name="T8" fmla="*/ 3 w 7"/>
                    <a:gd name="T9" fmla="*/ 0 h 4"/>
                    <a:gd name="T10" fmla="*/ 6 w 7"/>
                    <a:gd name="T11" fmla="*/ 0 h 4"/>
                    <a:gd name="T12" fmla="*/ 6 w 7"/>
                    <a:gd name="T13" fmla="*/ 0 h 4"/>
                    <a:gd name="T14" fmla="*/ 7 w 7"/>
                    <a:gd name="T15" fmla="*/ 0 h 4"/>
                    <a:gd name="T16" fmla="*/ 7 w 7"/>
                    <a:gd name="T17" fmla="*/ 0 h 4"/>
                    <a:gd name="T18" fmla="*/ 7 w 7"/>
                    <a:gd name="T19" fmla="*/ 0 h 4"/>
                    <a:gd name="T20" fmla="*/ 7 w 7"/>
                    <a:gd name="T21" fmla="*/ 0 h 4"/>
                    <a:gd name="T22" fmla="*/ 7 w 7"/>
                    <a:gd name="T23" fmla="*/ 0 h 4"/>
                    <a:gd name="T24" fmla="*/ 1 w 7"/>
                    <a:gd name="T2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" h="4">
                      <a:moveTo>
                        <a:pt x="1" y="0"/>
                      </a:moveTo>
                      <a:cubicBezTo>
                        <a:pt x="1" y="0"/>
                        <a:pt x="1" y="0"/>
                        <a:pt x="0" y="0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1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4" y="0"/>
                        <a:pt x="5" y="0"/>
                        <a:pt x="6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5" y="0"/>
                        <a:pt x="3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9" name="Freeform 95"/>
                <p:cNvSpPr>
                  <a:spLocks/>
                </p:cNvSpPr>
                <p:nvPr/>
              </p:nvSpPr>
              <p:spPr bwMode="auto">
                <a:xfrm>
                  <a:off x="2265363" y="2516188"/>
                  <a:ext cx="52388" cy="306388"/>
                </a:xfrm>
                <a:custGeom>
                  <a:avLst/>
                  <a:gdLst>
                    <a:gd name="T0" fmla="*/ 11 w 11"/>
                    <a:gd name="T1" fmla="*/ 0 h 63"/>
                    <a:gd name="T2" fmla="*/ 8 w 11"/>
                    <a:gd name="T3" fmla="*/ 0 h 63"/>
                    <a:gd name="T4" fmla="*/ 0 w 11"/>
                    <a:gd name="T5" fmla="*/ 61 h 63"/>
                    <a:gd name="T6" fmla="*/ 3 w 11"/>
                    <a:gd name="T7" fmla="*/ 62 h 63"/>
                    <a:gd name="T8" fmla="*/ 6 w 11"/>
                    <a:gd name="T9" fmla="*/ 63 h 63"/>
                    <a:gd name="T10" fmla="*/ 3 w 11"/>
                    <a:gd name="T11" fmla="*/ 62 h 63"/>
                    <a:gd name="T12" fmla="*/ 11 w 11"/>
                    <a:gd name="T13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3">
                      <a:moveTo>
                        <a:pt x="11" y="0"/>
                      </a:moveTo>
                      <a:cubicBezTo>
                        <a:pt x="10" y="0"/>
                        <a:pt x="9" y="0"/>
                        <a:pt x="8" y="0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1" y="62"/>
                        <a:pt x="2" y="62"/>
                        <a:pt x="3" y="62"/>
                      </a:cubicBezTo>
                      <a:cubicBezTo>
                        <a:pt x="4" y="62"/>
                        <a:pt x="5" y="63"/>
                        <a:pt x="6" y="63"/>
                      </a:cubicBezTo>
                      <a:cubicBezTo>
                        <a:pt x="5" y="63"/>
                        <a:pt x="4" y="62"/>
                        <a:pt x="3" y="62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0" name="Freeform 96"/>
                <p:cNvSpPr>
                  <a:spLocks noEditPoints="1"/>
                </p:cNvSpPr>
                <p:nvPr/>
              </p:nvSpPr>
              <p:spPr bwMode="auto">
                <a:xfrm>
                  <a:off x="2284413" y="2817813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1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1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1" name="Freeform 97"/>
                <p:cNvSpPr>
                  <a:spLocks/>
                </p:cNvSpPr>
                <p:nvPr/>
              </p:nvSpPr>
              <p:spPr bwMode="auto">
                <a:xfrm>
                  <a:off x="2279651" y="2817813"/>
                  <a:ext cx="19050" cy="4763"/>
                </a:xfrm>
                <a:custGeom>
                  <a:avLst/>
                  <a:gdLst>
                    <a:gd name="T0" fmla="*/ 0 w 4"/>
                    <a:gd name="T1" fmla="*/ 0 h 1"/>
                    <a:gd name="T2" fmla="*/ 1 w 4"/>
                    <a:gd name="T3" fmla="*/ 0 h 1"/>
                    <a:gd name="T4" fmla="*/ 1 w 4"/>
                    <a:gd name="T5" fmla="*/ 0 h 1"/>
                    <a:gd name="T6" fmla="*/ 1 w 4"/>
                    <a:gd name="T7" fmla="*/ 0 h 1"/>
                    <a:gd name="T8" fmla="*/ 4 w 4"/>
                    <a:gd name="T9" fmla="*/ 1 h 1"/>
                    <a:gd name="T10" fmla="*/ 3 w 4"/>
                    <a:gd name="T11" fmla="*/ 1 h 1"/>
                    <a:gd name="T12" fmla="*/ 0 w 4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1"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1"/>
                        <a:pt x="3" y="1"/>
                        <a:pt x="4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2" name="Freeform 98"/>
                <p:cNvSpPr>
                  <a:spLocks/>
                </p:cNvSpPr>
                <p:nvPr/>
              </p:nvSpPr>
              <p:spPr bwMode="auto">
                <a:xfrm>
                  <a:off x="2371726" y="2506663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1 w 4"/>
                    <a:gd name="T3" fmla="*/ 0 h 4"/>
                    <a:gd name="T4" fmla="*/ 0 w 4"/>
                    <a:gd name="T5" fmla="*/ 3 h 4"/>
                    <a:gd name="T6" fmla="*/ 2 w 4"/>
                    <a:gd name="T7" fmla="*/ 3 h 4"/>
                    <a:gd name="T8" fmla="*/ 3 w 4"/>
                    <a:gd name="T9" fmla="*/ 4 h 4"/>
                    <a:gd name="T10" fmla="*/ 4 w 4"/>
                    <a:gd name="T11" fmla="*/ 1 h 4"/>
                    <a:gd name="T12" fmla="*/ 1 w 4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2" y="3"/>
                        <a:pt x="2" y="3"/>
                      </a:cubicBezTo>
                      <a:cubicBezTo>
                        <a:pt x="3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2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3" name="Freeform 99"/>
                <p:cNvSpPr>
                  <a:spLocks/>
                </p:cNvSpPr>
                <p:nvPr/>
              </p:nvSpPr>
              <p:spPr bwMode="auto">
                <a:xfrm>
                  <a:off x="2381251" y="2520951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1 w 1"/>
                    <a:gd name="T5" fmla="*/ 1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4919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4" name="Freeform 100"/>
                <p:cNvSpPr>
                  <a:spLocks/>
                </p:cNvSpPr>
                <p:nvPr/>
              </p:nvSpPr>
              <p:spPr bwMode="auto">
                <a:xfrm>
                  <a:off x="2333626" y="2520951"/>
                  <a:ext cx="52388" cy="311150"/>
                </a:xfrm>
                <a:custGeom>
                  <a:avLst/>
                  <a:gdLst>
                    <a:gd name="T0" fmla="*/ 8 w 11"/>
                    <a:gd name="T1" fmla="*/ 0 h 64"/>
                    <a:gd name="T2" fmla="*/ 0 w 11"/>
                    <a:gd name="T3" fmla="*/ 63 h 64"/>
                    <a:gd name="T4" fmla="*/ 3 w 11"/>
                    <a:gd name="T5" fmla="*/ 64 h 64"/>
                    <a:gd name="T6" fmla="*/ 3 w 11"/>
                    <a:gd name="T7" fmla="*/ 64 h 64"/>
                    <a:gd name="T8" fmla="*/ 11 w 11"/>
                    <a:gd name="T9" fmla="*/ 1 h 64"/>
                    <a:gd name="T10" fmla="*/ 10 w 11"/>
                    <a:gd name="T11" fmla="*/ 0 h 64"/>
                    <a:gd name="T12" fmla="*/ 8 w 11"/>
                    <a:gd name="T13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1" y="63"/>
                        <a:pt x="2" y="64"/>
                        <a:pt x="3" y="64"/>
                      </a:cubicBezTo>
                      <a:cubicBezTo>
                        <a:pt x="3" y="64"/>
                        <a:pt x="3" y="64"/>
                        <a:pt x="3" y="64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1" y="1"/>
                        <a:pt x="11" y="1"/>
                        <a:pt x="10" y="0"/>
                      </a:cubicBezTo>
                      <a:cubicBezTo>
                        <a:pt x="10" y="0"/>
                        <a:pt x="9" y="0"/>
                        <a:pt x="8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5" name="Freeform 101"/>
                <p:cNvSpPr>
                  <a:spLocks/>
                </p:cNvSpPr>
                <p:nvPr/>
              </p:nvSpPr>
              <p:spPr bwMode="auto">
                <a:xfrm>
                  <a:off x="2347913" y="28321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6" name="Oval 102"/>
                <p:cNvSpPr>
                  <a:spLocks noChangeArrowheads="1"/>
                </p:cNvSpPr>
                <p:nvPr/>
              </p:nvSpPr>
              <p:spPr bwMode="auto">
                <a:xfrm>
                  <a:off x="2347913" y="2832101"/>
                  <a:ext cx="1588" cy="1588"/>
                </a:xfrm>
                <a:prstGeom prst="ellipse">
                  <a:avLst/>
                </a:pr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7" name="Freeform 103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8" name="Freeform 104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9" name="Freeform 105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23813" cy="0"/>
                </a:xfrm>
                <a:custGeom>
                  <a:avLst/>
                  <a:gdLst>
                    <a:gd name="T0" fmla="*/ 5 w 5"/>
                    <a:gd name="T1" fmla="*/ 5 w 5"/>
                    <a:gd name="T2" fmla="*/ 5 w 5"/>
                    <a:gd name="T3" fmla="*/ 5 w 5"/>
                    <a:gd name="T4" fmla="*/ 5 w 5"/>
                    <a:gd name="T5" fmla="*/ 5 w 5"/>
                    <a:gd name="T6" fmla="*/ 1 w 5"/>
                    <a:gd name="T7" fmla="*/ 1 w 5"/>
                    <a:gd name="T8" fmla="*/ 1 w 5"/>
                    <a:gd name="T9" fmla="*/ 0 w 5"/>
                    <a:gd name="T10" fmla="*/ 0 w 5"/>
                    <a:gd name="T11" fmla="*/ 0 w 5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  <a:cxn ang="0">
                      <a:pos x="T10" y="0"/>
                    </a:cxn>
                    <a:cxn ang="0">
                      <a:pos x="T11" y="0"/>
                    </a:cxn>
                  </a:cxnLst>
                  <a:rect l="0" t="0" r="r" b="b"/>
                  <a:pathLst>
                    <a:path w="5">
                      <a:moveTo>
                        <a:pt x="5" y="0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0" name="Freeform 10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1" name="Freeform 107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15875" cy="0"/>
                </a:xfrm>
                <a:custGeom>
                  <a:avLst/>
                  <a:gdLst>
                    <a:gd name="T0" fmla="*/ 0 w 3"/>
                    <a:gd name="T1" fmla="*/ 0 w 3"/>
                    <a:gd name="T2" fmla="*/ 0 w 3"/>
                    <a:gd name="T3" fmla="*/ 0 w 3"/>
                    <a:gd name="T4" fmla="*/ 3 w 3"/>
                    <a:gd name="T5" fmla="*/ 0 w 3"/>
                    <a:gd name="T6" fmla="*/ 0 w 3"/>
                    <a:gd name="T7" fmla="*/ 0 w 3"/>
                    <a:gd name="T8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2" name="Freeform 10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3" name="Freeform 109"/>
                <p:cNvSpPr>
                  <a:spLocks/>
                </p:cNvSpPr>
                <p:nvPr/>
              </p:nvSpPr>
              <p:spPr bwMode="auto">
                <a:xfrm>
                  <a:off x="2317751" y="2497138"/>
                  <a:ext cx="15875" cy="19050"/>
                </a:xfrm>
                <a:custGeom>
                  <a:avLst/>
                  <a:gdLst>
                    <a:gd name="T0" fmla="*/ 0 w 3"/>
                    <a:gd name="T1" fmla="*/ 0 h 4"/>
                    <a:gd name="T2" fmla="*/ 0 w 3"/>
                    <a:gd name="T3" fmla="*/ 4 h 4"/>
                    <a:gd name="T4" fmla="*/ 1 w 3"/>
                    <a:gd name="T5" fmla="*/ 4 h 4"/>
                    <a:gd name="T6" fmla="*/ 3 w 3"/>
                    <a:gd name="T7" fmla="*/ 4 h 4"/>
                    <a:gd name="T8" fmla="*/ 3 w 3"/>
                    <a:gd name="T9" fmla="*/ 0 h 4"/>
                    <a:gd name="T10" fmla="*/ 0 w 3"/>
                    <a:gd name="T11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4"/>
                        <a:pt x="1" y="4"/>
                        <a:pt x="1" y="4"/>
                      </a:cubicBezTo>
                      <a:cubicBezTo>
                        <a:pt x="2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4" name="Freeform 110"/>
                <p:cNvSpPr>
                  <a:spLocks/>
                </p:cNvSpPr>
                <p:nvPr/>
              </p:nvSpPr>
              <p:spPr bwMode="auto">
                <a:xfrm>
                  <a:off x="2279651" y="2516188"/>
                  <a:ext cx="53975" cy="306388"/>
                </a:xfrm>
                <a:custGeom>
                  <a:avLst/>
                  <a:gdLst>
                    <a:gd name="T0" fmla="*/ 9 w 11"/>
                    <a:gd name="T1" fmla="*/ 0 h 63"/>
                    <a:gd name="T2" fmla="*/ 8 w 11"/>
                    <a:gd name="T3" fmla="*/ 0 h 63"/>
                    <a:gd name="T4" fmla="*/ 0 w 11"/>
                    <a:gd name="T5" fmla="*/ 62 h 63"/>
                    <a:gd name="T6" fmla="*/ 3 w 11"/>
                    <a:gd name="T7" fmla="*/ 63 h 63"/>
                    <a:gd name="T8" fmla="*/ 4 w 11"/>
                    <a:gd name="T9" fmla="*/ 63 h 63"/>
                    <a:gd name="T10" fmla="*/ 3 w 11"/>
                    <a:gd name="T11" fmla="*/ 63 h 63"/>
                    <a:gd name="T12" fmla="*/ 3 w 11"/>
                    <a:gd name="T13" fmla="*/ 63 h 63"/>
                    <a:gd name="T14" fmla="*/ 11 w 11"/>
                    <a:gd name="T15" fmla="*/ 0 h 63"/>
                    <a:gd name="T16" fmla="*/ 9 w 11"/>
                    <a:gd name="T17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63">
                      <a:moveTo>
                        <a:pt x="9" y="0"/>
                      </a:moveTo>
                      <a:cubicBezTo>
                        <a:pt x="9" y="0"/>
                        <a:pt x="8" y="0"/>
                        <a:pt x="8" y="0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1" y="62"/>
                        <a:pt x="2" y="63"/>
                        <a:pt x="3" y="63"/>
                      </a:cubicBezTo>
                      <a:cubicBezTo>
                        <a:pt x="3" y="63"/>
                        <a:pt x="3" y="63"/>
                        <a:pt x="4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5" name="Freeform 11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6" name="Oval 112"/>
                <p:cNvSpPr>
                  <a:spLocks noChangeArrowheads="1"/>
                </p:cNvSpPr>
                <p:nvPr/>
              </p:nvSpPr>
              <p:spPr bwMode="auto">
                <a:xfrm>
                  <a:off x="2293938" y="2822576"/>
                  <a:ext cx="4763" cy="1588"/>
                </a:xfrm>
                <a:prstGeom prst="ellipse">
                  <a:avLst/>
                </a:pr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7" name="Freeform 113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1 w 2"/>
                    <a:gd name="T3" fmla="*/ 1 h 1"/>
                    <a:gd name="T4" fmla="*/ 2 w 2"/>
                    <a:gd name="T5" fmla="*/ 1 h 1"/>
                    <a:gd name="T6" fmla="*/ 1 w 2"/>
                    <a:gd name="T7" fmla="*/ 1 h 1"/>
                    <a:gd name="T8" fmla="*/ 1 w 2"/>
                    <a:gd name="T9" fmla="*/ 1 h 1"/>
                    <a:gd name="T10" fmla="*/ 0 w 2"/>
                    <a:gd name="T11" fmla="*/ 1 h 1"/>
                    <a:gd name="T12" fmla="*/ 0 w 2"/>
                    <a:gd name="T13" fmla="*/ 1 h 1"/>
                    <a:gd name="T14" fmla="*/ 0 w 2"/>
                    <a:gd name="T15" fmla="*/ 1 h 1"/>
                    <a:gd name="T16" fmla="*/ 0 w 2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2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8" name="Freeform 114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0 w 1"/>
                    <a:gd name="T5" fmla="*/ 0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" y="1"/>
                        <a:pt x="0" y="1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9" name="Freeform 11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0" name="Freeform 116"/>
                <p:cNvSpPr>
                  <a:spLocks/>
                </p:cNvSpPr>
                <p:nvPr/>
              </p:nvSpPr>
              <p:spPr bwMode="auto">
                <a:xfrm>
                  <a:off x="2357438" y="2501901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0 w 4"/>
                    <a:gd name="T3" fmla="*/ 3 h 4"/>
                    <a:gd name="T4" fmla="*/ 1 w 4"/>
                    <a:gd name="T5" fmla="*/ 3 h 4"/>
                    <a:gd name="T6" fmla="*/ 3 w 4"/>
                    <a:gd name="T7" fmla="*/ 4 h 4"/>
                    <a:gd name="T8" fmla="*/ 4 w 4"/>
                    <a:gd name="T9" fmla="*/ 1 h 4"/>
                    <a:gd name="T10" fmla="*/ 4 w 4"/>
                    <a:gd name="T11" fmla="*/ 1 h 4"/>
                    <a:gd name="T12" fmla="*/ 1 w 4"/>
                    <a:gd name="T13" fmla="*/ 0 h 4"/>
                    <a:gd name="T14" fmla="*/ 1 w 4"/>
                    <a:gd name="T15" fmla="*/ 0 h 4"/>
                    <a:gd name="T16" fmla="*/ 1 w 4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2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1" name="Freeform 117"/>
                <p:cNvSpPr>
                  <a:spLocks/>
                </p:cNvSpPr>
                <p:nvPr/>
              </p:nvSpPr>
              <p:spPr bwMode="auto">
                <a:xfrm>
                  <a:off x="2312988" y="2516188"/>
                  <a:ext cx="58738" cy="311150"/>
                </a:xfrm>
                <a:custGeom>
                  <a:avLst/>
                  <a:gdLst>
                    <a:gd name="T0" fmla="*/ 9 w 12"/>
                    <a:gd name="T1" fmla="*/ 0 h 64"/>
                    <a:gd name="T2" fmla="*/ 1 w 12"/>
                    <a:gd name="T3" fmla="*/ 64 h 64"/>
                    <a:gd name="T4" fmla="*/ 0 w 12"/>
                    <a:gd name="T5" fmla="*/ 64 h 64"/>
                    <a:gd name="T6" fmla="*/ 0 w 12"/>
                    <a:gd name="T7" fmla="*/ 64 h 64"/>
                    <a:gd name="T8" fmla="*/ 0 w 12"/>
                    <a:gd name="T9" fmla="*/ 64 h 64"/>
                    <a:gd name="T10" fmla="*/ 0 w 12"/>
                    <a:gd name="T11" fmla="*/ 64 h 64"/>
                    <a:gd name="T12" fmla="*/ 3 w 12"/>
                    <a:gd name="T13" fmla="*/ 64 h 64"/>
                    <a:gd name="T14" fmla="*/ 4 w 12"/>
                    <a:gd name="T15" fmla="*/ 64 h 64"/>
                    <a:gd name="T16" fmla="*/ 12 w 12"/>
                    <a:gd name="T17" fmla="*/ 1 h 64"/>
                    <a:gd name="T18" fmla="*/ 10 w 12"/>
                    <a:gd name="T19" fmla="*/ 0 h 64"/>
                    <a:gd name="T20" fmla="*/ 9 w 12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" h="64">
                      <a:moveTo>
                        <a:pt x="9" y="0"/>
                      </a:moveTo>
                      <a:cubicBezTo>
                        <a:pt x="1" y="64"/>
                        <a:pt x="1" y="64"/>
                        <a:pt x="1" y="64"/>
                      </a:cubicBezTo>
                      <a:cubicBezTo>
                        <a:pt x="1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1" y="64"/>
                        <a:pt x="2" y="64"/>
                        <a:pt x="3" y="64"/>
                      </a:cubicBezTo>
                      <a:cubicBezTo>
                        <a:pt x="4" y="64"/>
                        <a:pt x="4" y="64"/>
                        <a:pt x="4" y="64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1"/>
                        <a:pt x="11" y="0"/>
                        <a:pt x="10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2" name="Freeform 11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3" name="Freeform 119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4" name="Freeform 120"/>
                <p:cNvSpPr>
                  <a:spLocks/>
                </p:cNvSpPr>
                <p:nvPr/>
              </p:nvSpPr>
              <p:spPr bwMode="auto">
                <a:xfrm>
                  <a:off x="2343151" y="2501901"/>
                  <a:ext cx="19050" cy="0"/>
                </a:xfrm>
                <a:custGeom>
                  <a:avLst/>
                  <a:gdLst>
                    <a:gd name="T0" fmla="*/ 0 w 4"/>
                    <a:gd name="T1" fmla="*/ 4 w 4"/>
                    <a:gd name="T2" fmla="*/ 4 w 4"/>
                    <a:gd name="T3" fmla="*/ 4 w 4"/>
                    <a:gd name="T4" fmla="*/ 1 w 4"/>
                    <a:gd name="T5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cubicBezTo>
                        <a:pt x="1" y="0"/>
                        <a:pt x="2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0"/>
                        <a:pt x="2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9693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5" name="Freeform 121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28575" cy="19050"/>
                </a:xfrm>
                <a:custGeom>
                  <a:avLst/>
                  <a:gdLst>
                    <a:gd name="T0" fmla="*/ 0 w 6"/>
                    <a:gd name="T1" fmla="*/ 0 h 4"/>
                    <a:gd name="T2" fmla="*/ 0 w 6"/>
                    <a:gd name="T3" fmla="*/ 4 h 4"/>
                    <a:gd name="T4" fmla="*/ 5 w 6"/>
                    <a:gd name="T5" fmla="*/ 4 h 4"/>
                    <a:gd name="T6" fmla="*/ 6 w 6"/>
                    <a:gd name="T7" fmla="*/ 1 h 4"/>
                    <a:gd name="T8" fmla="*/ 2 w 6"/>
                    <a:gd name="T9" fmla="*/ 1 h 4"/>
                    <a:gd name="T10" fmla="*/ 1 w 6"/>
                    <a:gd name="T11" fmla="*/ 0 h 4"/>
                    <a:gd name="T12" fmla="*/ 0 w 6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2" y="4"/>
                        <a:pt x="4" y="4"/>
                        <a:pt x="5" y="4"/>
                      </a:cubicBezTo>
                      <a:cubicBezTo>
                        <a:pt x="6" y="1"/>
                        <a:pt x="6" y="1"/>
                        <a:pt x="6" y="1"/>
                      </a:cubicBezTo>
                      <a:cubicBezTo>
                        <a:pt x="4" y="1"/>
                        <a:pt x="3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2C0C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" name="Freeform 122"/>
                <p:cNvSpPr>
                  <a:spLocks/>
                </p:cNvSpPr>
                <p:nvPr/>
              </p:nvSpPr>
              <p:spPr bwMode="auto">
                <a:xfrm>
                  <a:off x="2293938" y="2516188"/>
                  <a:ext cx="63500" cy="311150"/>
                </a:xfrm>
                <a:custGeom>
                  <a:avLst/>
                  <a:gdLst>
                    <a:gd name="T0" fmla="*/ 8 w 13"/>
                    <a:gd name="T1" fmla="*/ 0 h 64"/>
                    <a:gd name="T2" fmla="*/ 0 w 13"/>
                    <a:gd name="T3" fmla="*/ 63 h 64"/>
                    <a:gd name="T4" fmla="*/ 0 w 13"/>
                    <a:gd name="T5" fmla="*/ 63 h 64"/>
                    <a:gd name="T6" fmla="*/ 1 w 13"/>
                    <a:gd name="T7" fmla="*/ 63 h 64"/>
                    <a:gd name="T8" fmla="*/ 2 w 13"/>
                    <a:gd name="T9" fmla="*/ 63 h 64"/>
                    <a:gd name="T10" fmla="*/ 2 w 13"/>
                    <a:gd name="T11" fmla="*/ 63 h 64"/>
                    <a:gd name="T12" fmla="*/ 2 w 13"/>
                    <a:gd name="T13" fmla="*/ 63 h 64"/>
                    <a:gd name="T14" fmla="*/ 4 w 13"/>
                    <a:gd name="T15" fmla="*/ 64 h 64"/>
                    <a:gd name="T16" fmla="*/ 5 w 13"/>
                    <a:gd name="T17" fmla="*/ 64 h 64"/>
                    <a:gd name="T18" fmla="*/ 13 w 13"/>
                    <a:gd name="T19" fmla="*/ 0 h 64"/>
                    <a:gd name="T20" fmla="*/ 8 w 13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1" y="63"/>
                      </a:cubicBezTo>
                      <a:cubicBezTo>
                        <a:pt x="1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3" y="63"/>
                        <a:pt x="3" y="64"/>
                        <a:pt x="4" y="64"/>
                      </a:cubicBezTo>
                      <a:cubicBezTo>
                        <a:pt x="4" y="64"/>
                        <a:pt x="5" y="64"/>
                        <a:pt x="5" y="64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2" y="0"/>
                        <a:pt x="10" y="0"/>
                        <a:pt x="8" y="0"/>
                      </a:cubicBezTo>
                    </a:path>
                  </a:pathLst>
                </a:custGeom>
                <a:solidFill>
                  <a:srgbClr val="F5EA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" name="Freeform 123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2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2 w 3"/>
                    <a:gd name="T7" fmla="*/ 0 h 1"/>
                    <a:gd name="T8" fmla="*/ 0 w 3"/>
                    <a:gd name="T9" fmla="*/ 0 h 1"/>
                    <a:gd name="T10" fmla="*/ 0 w 3"/>
                    <a:gd name="T11" fmla="*/ 0 h 1"/>
                    <a:gd name="T12" fmla="*/ 1 w 3"/>
                    <a:gd name="T13" fmla="*/ 0 h 1"/>
                    <a:gd name="T14" fmla="*/ 1 w 3"/>
                    <a:gd name="T15" fmla="*/ 0 h 1"/>
                    <a:gd name="T16" fmla="*/ 0 w 3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EC5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" name="Freeform 124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1 w 3"/>
                    <a:gd name="T1" fmla="*/ 0 h 1"/>
                    <a:gd name="T2" fmla="*/ 2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1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1 w 3"/>
                    <a:gd name="T15" fmla="*/ 0 h 1"/>
                    <a:gd name="T16" fmla="*/ 1 w 3"/>
                    <a:gd name="T17" fmla="*/ 0 h 1"/>
                    <a:gd name="T18" fmla="*/ 0 w 3"/>
                    <a:gd name="T1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1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2CDC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  <p:sp>
          <p:nvSpPr>
            <p:cNvPr id="12" name="Rectangle 11"/>
            <p:cNvSpPr/>
            <p:nvPr/>
          </p:nvSpPr>
          <p:spPr bwMode="auto">
            <a:xfrm>
              <a:off x="3542839" y="1754690"/>
              <a:ext cx="5507908" cy="300803"/>
            </a:xfrm>
            <a:prstGeom prst="rect">
              <a:avLst/>
            </a:prstGeom>
            <a:solidFill>
              <a:srgbClr val="0070C0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30000"/>
                </a:spcAft>
                <a:buClr>
                  <a:schemeClr val="accent1"/>
                </a:buClr>
              </a:pPr>
              <a:endParaRPr lang="en-GB" sz="2100">
                <a:latin typeface="Arial" pitchFamily="34" charset="0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3599254" y="1773745"/>
            <a:ext cx="5376272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500" dirty="0">
                <a:solidFill>
                  <a:schemeClr val="bg1"/>
                </a:solidFill>
                <a:latin typeface="Century Gothic" panose="020B0502020202020204" pitchFamily="34" charset="0"/>
              </a:rPr>
              <a:t>Service Level Management |Portfolio Overview | DE </a:t>
            </a:r>
          </a:p>
        </p:txBody>
      </p:sp>
      <p:pic>
        <p:nvPicPr>
          <p:cNvPr id="128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83" t="5674" r="5802" b="51207"/>
          <a:stretch/>
        </p:blipFill>
        <p:spPr bwMode="auto">
          <a:xfrm>
            <a:off x="3574926" y="2047128"/>
            <a:ext cx="5472608" cy="2873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9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83" t="57616" r="5802" b="27729"/>
          <a:stretch/>
        </p:blipFill>
        <p:spPr bwMode="auto">
          <a:xfrm>
            <a:off x="3531946" y="4927449"/>
            <a:ext cx="5328592" cy="9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35" name="Group 239"/>
          <p:cNvGrpSpPr>
            <a:grpSpLocks/>
          </p:cNvGrpSpPr>
          <p:nvPr/>
        </p:nvGrpSpPr>
        <p:grpSpPr bwMode="auto">
          <a:xfrm>
            <a:off x="7679382" y="7822282"/>
            <a:ext cx="3659314" cy="4877929"/>
            <a:chOff x="96" y="1859"/>
            <a:chExt cx="2136" cy="2350"/>
          </a:xfrm>
        </p:grpSpPr>
        <p:sp>
          <p:nvSpPr>
            <p:cNvPr id="136" name="Freeform 240"/>
            <p:cNvSpPr>
              <a:spLocks/>
            </p:cNvSpPr>
            <p:nvPr/>
          </p:nvSpPr>
          <p:spPr bwMode="auto">
            <a:xfrm>
              <a:off x="96" y="1859"/>
              <a:ext cx="2136" cy="2269"/>
            </a:xfrm>
            <a:custGeom>
              <a:avLst/>
              <a:gdLst>
                <a:gd name="T0" fmla="*/ 2136 w 2136"/>
                <a:gd name="T1" fmla="*/ 2253 h 2269"/>
                <a:gd name="T2" fmla="*/ 1992 w 2136"/>
                <a:gd name="T3" fmla="*/ 1797 h 2269"/>
                <a:gd name="T4" fmla="*/ 1712 w 2136"/>
                <a:gd name="T5" fmla="*/ 1709 h 2269"/>
                <a:gd name="T6" fmla="*/ 1488 w 2136"/>
                <a:gd name="T7" fmla="*/ 1501 h 2269"/>
                <a:gd name="T8" fmla="*/ 1240 w 2136"/>
                <a:gd name="T9" fmla="*/ 1485 h 2269"/>
                <a:gd name="T10" fmla="*/ 976 w 2136"/>
                <a:gd name="T11" fmla="*/ 1333 h 2269"/>
                <a:gd name="T12" fmla="*/ 752 w 2136"/>
                <a:gd name="T13" fmla="*/ 1333 h 2269"/>
                <a:gd name="T14" fmla="*/ 680 w 2136"/>
                <a:gd name="T15" fmla="*/ 1405 h 2269"/>
                <a:gd name="T16" fmla="*/ 504 w 2136"/>
                <a:gd name="T17" fmla="*/ 1165 h 2269"/>
                <a:gd name="T18" fmla="*/ 480 w 2136"/>
                <a:gd name="T19" fmla="*/ 813 h 2269"/>
                <a:gd name="T20" fmla="*/ 392 w 2136"/>
                <a:gd name="T21" fmla="*/ 573 h 2269"/>
                <a:gd name="T22" fmla="*/ 400 w 2136"/>
                <a:gd name="T23" fmla="*/ 349 h 2269"/>
                <a:gd name="T24" fmla="*/ 304 w 2136"/>
                <a:gd name="T25" fmla="*/ 53 h 2269"/>
                <a:gd name="T26" fmla="*/ 152 w 2136"/>
                <a:gd name="T27" fmla="*/ 29 h 2269"/>
                <a:gd name="T28" fmla="*/ 48 w 2136"/>
                <a:gd name="T29" fmla="*/ 165 h 2269"/>
                <a:gd name="T30" fmla="*/ 8 w 2136"/>
                <a:gd name="T31" fmla="*/ 813 h 2269"/>
                <a:gd name="T32" fmla="*/ 96 w 2136"/>
                <a:gd name="T33" fmla="*/ 1349 h 2269"/>
                <a:gd name="T34" fmla="*/ 144 w 2136"/>
                <a:gd name="T35" fmla="*/ 1885 h 2269"/>
                <a:gd name="T36" fmla="*/ 144 w 2136"/>
                <a:gd name="T37" fmla="*/ 2269 h 2269"/>
                <a:gd name="T38" fmla="*/ 2136 w 2136"/>
                <a:gd name="T39" fmla="*/ 2253 h 2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136" h="2269">
                  <a:moveTo>
                    <a:pt x="2136" y="2253"/>
                  </a:moveTo>
                  <a:cubicBezTo>
                    <a:pt x="2099" y="2070"/>
                    <a:pt x="2063" y="1888"/>
                    <a:pt x="1992" y="1797"/>
                  </a:cubicBezTo>
                  <a:cubicBezTo>
                    <a:pt x="1921" y="1706"/>
                    <a:pt x="1796" y="1758"/>
                    <a:pt x="1712" y="1709"/>
                  </a:cubicBezTo>
                  <a:cubicBezTo>
                    <a:pt x="1628" y="1660"/>
                    <a:pt x="1567" y="1538"/>
                    <a:pt x="1488" y="1501"/>
                  </a:cubicBezTo>
                  <a:cubicBezTo>
                    <a:pt x="1409" y="1464"/>
                    <a:pt x="1325" y="1513"/>
                    <a:pt x="1240" y="1485"/>
                  </a:cubicBezTo>
                  <a:cubicBezTo>
                    <a:pt x="1155" y="1457"/>
                    <a:pt x="1057" y="1358"/>
                    <a:pt x="976" y="1333"/>
                  </a:cubicBezTo>
                  <a:cubicBezTo>
                    <a:pt x="895" y="1308"/>
                    <a:pt x="801" y="1321"/>
                    <a:pt x="752" y="1333"/>
                  </a:cubicBezTo>
                  <a:cubicBezTo>
                    <a:pt x="703" y="1345"/>
                    <a:pt x="721" y="1433"/>
                    <a:pt x="680" y="1405"/>
                  </a:cubicBezTo>
                  <a:cubicBezTo>
                    <a:pt x="639" y="1377"/>
                    <a:pt x="537" y="1264"/>
                    <a:pt x="504" y="1165"/>
                  </a:cubicBezTo>
                  <a:cubicBezTo>
                    <a:pt x="471" y="1066"/>
                    <a:pt x="499" y="912"/>
                    <a:pt x="480" y="813"/>
                  </a:cubicBezTo>
                  <a:cubicBezTo>
                    <a:pt x="461" y="714"/>
                    <a:pt x="405" y="650"/>
                    <a:pt x="392" y="573"/>
                  </a:cubicBezTo>
                  <a:cubicBezTo>
                    <a:pt x="379" y="496"/>
                    <a:pt x="415" y="436"/>
                    <a:pt x="400" y="349"/>
                  </a:cubicBezTo>
                  <a:cubicBezTo>
                    <a:pt x="385" y="262"/>
                    <a:pt x="345" y="106"/>
                    <a:pt x="304" y="53"/>
                  </a:cubicBezTo>
                  <a:cubicBezTo>
                    <a:pt x="263" y="0"/>
                    <a:pt x="195" y="10"/>
                    <a:pt x="152" y="29"/>
                  </a:cubicBezTo>
                  <a:cubicBezTo>
                    <a:pt x="109" y="48"/>
                    <a:pt x="72" y="34"/>
                    <a:pt x="48" y="165"/>
                  </a:cubicBezTo>
                  <a:cubicBezTo>
                    <a:pt x="24" y="296"/>
                    <a:pt x="0" y="616"/>
                    <a:pt x="8" y="813"/>
                  </a:cubicBezTo>
                  <a:cubicBezTo>
                    <a:pt x="16" y="1010"/>
                    <a:pt x="73" y="1170"/>
                    <a:pt x="96" y="1349"/>
                  </a:cubicBezTo>
                  <a:cubicBezTo>
                    <a:pt x="119" y="1528"/>
                    <a:pt x="136" y="1732"/>
                    <a:pt x="144" y="1885"/>
                  </a:cubicBezTo>
                  <a:cubicBezTo>
                    <a:pt x="152" y="2038"/>
                    <a:pt x="144" y="2205"/>
                    <a:pt x="144" y="2269"/>
                  </a:cubicBezTo>
                  <a:cubicBezTo>
                    <a:pt x="144" y="2269"/>
                    <a:pt x="2136" y="2253"/>
                    <a:pt x="2136" y="2253"/>
                  </a:cubicBezTo>
                  <a:close/>
                </a:path>
              </a:pathLst>
            </a:custGeom>
            <a:solidFill>
              <a:srgbClr val="D6A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37" name="Group 241"/>
            <p:cNvGrpSpPr>
              <a:grpSpLocks/>
            </p:cNvGrpSpPr>
            <p:nvPr/>
          </p:nvGrpSpPr>
          <p:grpSpPr bwMode="auto">
            <a:xfrm>
              <a:off x="159" y="1880"/>
              <a:ext cx="1865" cy="2329"/>
              <a:chOff x="159" y="1880"/>
              <a:chExt cx="1865" cy="2329"/>
            </a:xfrm>
          </p:grpSpPr>
          <p:sp>
            <p:nvSpPr>
              <p:cNvPr id="139" name="Freeform 242"/>
              <p:cNvSpPr>
                <a:spLocks/>
              </p:cNvSpPr>
              <p:nvPr/>
            </p:nvSpPr>
            <p:spPr bwMode="auto">
              <a:xfrm>
                <a:off x="284" y="2599"/>
                <a:ext cx="1740" cy="1610"/>
              </a:xfrm>
              <a:custGeom>
                <a:avLst/>
                <a:gdLst>
                  <a:gd name="T0" fmla="*/ 908 w 1740"/>
                  <a:gd name="T1" fmla="*/ 1513 h 1610"/>
                  <a:gd name="T2" fmla="*/ 876 w 1740"/>
                  <a:gd name="T3" fmla="*/ 1049 h 1610"/>
                  <a:gd name="T4" fmla="*/ 1012 w 1740"/>
                  <a:gd name="T5" fmla="*/ 1217 h 1610"/>
                  <a:gd name="T6" fmla="*/ 1012 w 1740"/>
                  <a:gd name="T7" fmla="*/ 1545 h 1610"/>
                  <a:gd name="T8" fmla="*/ 1228 w 1740"/>
                  <a:gd name="T9" fmla="*/ 1545 h 1610"/>
                  <a:gd name="T10" fmla="*/ 1356 w 1740"/>
                  <a:gd name="T11" fmla="*/ 1153 h 1610"/>
                  <a:gd name="T12" fmla="*/ 1548 w 1740"/>
                  <a:gd name="T13" fmla="*/ 1329 h 1610"/>
                  <a:gd name="T14" fmla="*/ 1636 w 1740"/>
                  <a:gd name="T15" fmla="*/ 1177 h 1610"/>
                  <a:gd name="T16" fmla="*/ 1732 w 1740"/>
                  <a:gd name="T17" fmla="*/ 1113 h 1610"/>
                  <a:gd name="T18" fmla="*/ 1588 w 1740"/>
                  <a:gd name="T19" fmla="*/ 1113 h 1610"/>
                  <a:gd name="T20" fmla="*/ 1546 w 1740"/>
                  <a:gd name="T21" fmla="*/ 1328 h 1610"/>
                  <a:gd name="T22" fmla="*/ 1357 w 1740"/>
                  <a:gd name="T23" fmla="*/ 1151 h 1610"/>
                  <a:gd name="T24" fmla="*/ 1372 w 1740"/>
                  <a:gd name="T25" fmla="*/ 905 h 1610"/>
                  <a:gd name="T26" fmla="*/ 1188 w 1740"/>
                  <a:gd name="T27" fmla="*/ 801 h 1610"/>
                  <a:gd name="T28" fmla="*/ 1084 w 1740"/>
                  <a:gd name="T29" fmla="*/ 1025 h 1610"/>
                  <a:gd name="T30" fmla="*/ 796 w 1740"/>
                  <a:gd name="T31" fmla="*/ 673 h 1610"/>
                  <a:gd name="T32" fmla="*/ 564 w 1740"/>
                  <a:gd name="T33" fmla="*/ 697 h 1610"/>
                  <a:gd name="T34" fmla="*/ 412 w 1740"/>
                  <a:gd name="T35" fmla="*/ 889 h 1610"/>
                  <a:gd name="T36" fmla="*/ 196 w 1740"/>
                  <a:gd name="T37" fmla="*/ 745 h 1610"/>
                  <a:gd name="T38" fmla="*/ 164 w 1740"/>
                  <a:gd name="T39" fmla="*/ 353 h 1610"/>
                  <a:gd name="T40" fmla="*/ 100 w 1740"/>
                  <a:gd name="T41" fmla="*/ 25 h 1610"/>
                  <a:gd name="T42" fmla="*/ 84 w 1740"/>
                  <a:gd name="T43" fmla="*/ 201 h 1610"/>
                  <a:gd name="T44" fmla="*/ 84 w 1740"/>
                  <a:gd name="T45" fmla="*/ 793 h 1610"/>
                  <a:gd name="T46" fmla="*/ 12 w 1740"/>
                  <a:gd name="T47" fmla="*/ 1321 h 1610"/>
                  <a:gd name="T48" fmla="*/ 12 w 1740"/>
                  <a:gd name="T49" fmla="*/ 1569 h 1610"/>
                  <a:gd name="T50" fmla="*/ 908 w 1740"/>
                  <a:gd name="T51" fmla="*/ 1513 h 161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740" h="1610">
                    <a:moveTo>
                      <a:pt x="908" y="1513"/>
                    </a:moveTo>
                    <a:cubicBezTo>
                      <a:pt x="883" y="1305"/>
                      <a:pt x="859" y="1098"/>
                      <a:pt x="876" y="1049"/>
                    </a:cubicBezTo>
                    <a:cubicBezTo>
                      <a:pt x="893" y="1000"/>
                      <a:pt x="989" y="1134"/>
                      <a:pt x="1012" y="1217"/>
                    </a:cubicBezTo>
                    <a:cubicBezTo>
                      <a:pt x="1035" y="1300"/>
                      <a:pt x="976" y="1490"/>
                      <a:pt x="1012" y="1545"/>
                    </a:cubicBezTo>
                    <a:cubicBezTo>
                      <a:pt x="1048" y="1600"/>
                      <a:pt x="1171" y="1610"/>
                      <a:pt x="1228" y="1545"/>
                    </a:cubicBezTo>
                    <a:cubicBezTo>
                      <a:pt x="1285" y="1480"/>
                      <a:pt x="1303" y="1189"/>
                      <a:pt x="1356" y="1153"/>
                    </a:cubicBezTo>
                    <a:lnTo>
                      <a:pt x="1548" y="1329"/>
                    </a:lnTo>
                    <a:cubicBezTo>
                      <a:pt x="1595" y="1333"/>
                      <a:pt x="1605" y="1213"/>
                      <a:pt x="1636" y="1177"/>
                    </a:cubicBezTo>
                    <a:cubicBezTo>
                      <a:pt x="1667" y="1141"/>
                      <a:pt x="1740" y="1124"/>
                      <a:pt x="1732" y="1113"/>
                    </a:cubicBezTo>
                    <a:cubicBezTo>
                      <a:pt x="1724" y="1102"/>
                      <a:pt x="1619" y="1077"/>
                      <a:pt x="1588" y="1113"/>
                    </a:cubicBezTo>
                    <a:cubicBezTo>
                      <a:pt x="1557" y="1149"/>
                      <a:pt x="1584" y="1322"/>
                      <a:pt x="1546" y="1328"/>
                    </a:cubicBezTo>
                    <a:lnTo>
                      <a:pt x="1357" y="1151"/>
                    </a:lnTo>
                    <a:cubicBezTo>
                      <a:pt x="1328" y="1081"/>
                      <a:pt x="1400" y="963"/>
                      <a:pt x="1372" y="905"/>
                    </a:cubicBezTo>
                    <a:cubicBezTo>
                      <a:pt x="1344" y="847"/>
                      <a:pt x="1236" y="781"/>
                      <a:pt x="1188" y="801"/>
                    </a:cubicBezTo>
                    <a:cubicBezTo>
                      <a:pt x="1140" y="821"/>
                      <a:pt x="1149" y="1046"/>
                      <a:pt x="1084" y="1025"/>
                    </a:cubicBezTo>
                    <a:cubicBezTo>
                      <a:pt x="1019" y="1004"/>
                      <a:pt x="883" y="728"/>
                      <a:pt x="796" y="673"/>
                    </a:cubicBezTo>
                    <a:cubicBezTo>
                      <a:pt x="709" y="618"/>
                      <a:pt x="628" y="661"/>
                      <a:pt x="564" y="697"/>
                    </a:cubicBezTo>
                    <a:cubicBezTo>
                      <a:pt x="500" y="733"/>
                      <a:pt x="473" y="881"/>
                      <a:pt x="412" y="889"/>
                    </a:cubicBezTo>
                    <a:cubicBezTo>
                      <a:pt x="351" y="897"/>
                      <a:pt x="237" y="834"/>
                      <a:pt x="196" y="745"/>
                    </a:cubicBezTo>
                    <a:cubicBezTo>
                      <a:pt x="155" y="656"/>
                      <a:pt x="180" y="473"/>
                      <a:pt x="164" y="353"/>
                    </a:cubicBezTo>
                    <a:cubicBezTo>
                      <a:pt x="148" y="233"/>
                      <a:pt x="113" y="50"/>
                      <a:pt x="100" y="25"/>
                    </a:cubicBezTo>
                    <a:cubicBezTo>
                      <a:pt x="87" y="0"/>
                      <a:pt x="87" y="73"/>
                      <a:pt x="84" y="201"/>
                    </a:cubicBezTo>
                    <a:cubicBezTo>
                      <a:pt x="81" y="329"/>
                      <a:pt x="96" y="606"/>
                      <a:pt x="84" y="793"/>
                    </a:cubicBezTo>
                    <a:cubicBezTo>
                      <a:pt x="72" y="980"/>
                      <a:pt x="24" y="1192"/>
                      <a:pt x="12" y="1321"/>
                    </a:cubicBezTo>
                    <a:cubicBezTo>
                      <a:pt x="0" y="1450"/>
                      <a:pt x="6" y="1509"/>
                      <a:pt x="12" y="1569"/>
                    </a:cubicBezTo>
                    <a:cubicBezTo>
                      <a:pt x="12" y="1569"/>
                      <a:pt x="908" y="1513"/>
                      <a:pt x="908" y="1513"/>
                    </a:cubicBezTo>
                    <a:close/>
                  </a:path>
                </a:pathLst>
              </a:custGeom>
              <a:solidFill>
                <a:srgbClr val="D6A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" name="Freeform 243"/>
              <p:cNvSpPr>
                <a:spLocks/>
              </p:cNvSpPr>
              <p:nvPr/>
            </p:nvSpPr>
            <p:spPr bwMode="auto">
              <a:xfrm>
                <a:off x="159" y="1880"/>
                <a:ext cx="268" cy="225"/>
              </a:xfrm>
              <a:custGeom>
                <a:avLst/>
                <a:gdLst>
                  <a:gd name="T0" fmla="*/ 9 w 268"/>
                  <a:gd name="T1" fmla="*/ 136 h 225"/>
                  <a:gd name="T2" fmla="*/ 129 w 268"/>
                  <a:gd name="T3" fmla="*/ 224 h 225"/>
                  <a:gd name="T4" fmla="*/ 257 w 268"/>
                  <a:gd name="T5" fmla="*/ 144 h 225"/>
                  <a:gd name="T6" fmla="*/ 193 w 268"/>
                  <a:gd name="T7" fmla="*/ 32 h 225"/>
                  <a:gd name="T8" fmla="*/ 73 w 268"/>
                  <a:gd name="T9" fmla="*/ 16 h 225"/>
                  <a:gd name="T10" fmla="*/ 9 w 268"/>
                  <a:gd name="T11" fmla="*/ 136 h 2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8" h="225">
                    <a:moveTo>
                      <a:pt x="9" y="136"/>
                    </a:moveTo>
                    <a:cubicBezTo>
                      <a:pt x="18" y="171"/>
                      <a:pt x="88" y="223"/>
                      <a:pt x="129" y="224"/>
                    </a:cubicBezTo>
                    <a:cubicBezTo>
                      <a:pt x="170" y="225"/>
                      <a:pt x="246" y="176"/>
                      <a:pt x="257" y="144"/>
                    </a:cubicBezTo>
                    <a:cubicBezTo>
                      <a:pt x="268" y="112"/>
                      <a:pt x="224" y="53"/>
                      <a:pt x="193" y="32"/>
                    </a:cubicBezTo>
                    <a:cubicBezTo>
                      <a:pt x="162" y="11"/>
                      <a:pt x="104" y="0"/>
                      <a:pt x="73" y="16"/>
                    </a:cubicBezTo>
                    <a:cubicBezTo>
                      <a:pt x="42" y="32"/>
                      <a:pt x="0" y="101"/>
                      <a:pt x="9" y="136"/>
                    </a:cubicBezTo>
                    <a:close/>
                  </a:path>
                </a:pathLst>
              </a:custGeom>
              <a:solidFill>
                <a:srgbClr val="E9BEA9"/>
              </a:solidFill>
              <a:ln w="9525" cap="flat" cmpd="sng">
                <a:solidFill>
                  <a:srgbClr val="DAAD80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138" name="Freeform 244"/>
            <p:cNvSpPr>
              <a:spLocks/>
            </p:cNvSpPr>
            <p:nvPr/>
          </p:nvSpPr>
          <p:spPr bwMode="auto">
            <a:xfrm>
              <a:off x="213" y="2432"/>
              <a:ext cx="188" cy="139"/>
            </a:xfrm>
            <a:custGeom>
              <a:avLst/>
              <a:gdLst>
                <a:gd name="T0" fmla="*/ 11 w 188"/>
                <a:gd name="T1" fmla="*/ 0 h 139"/>
                <a:gd name="T2" fmla="*/ 91 w 188"/>
                <a:gd name="T3" fmla="*/ 56 h 139"/>
                <a:gd name="T4" fmla="*/ 187 w 188"/>
                <a:gd name="T5" fmla="*/ 16 h 139"/>
                <a:gd name="T6" fmla="*/ 83 w 188"/>
                <a:gd name="T7" fmla="*/ 88 h 139"/>
                <a:gd name="T8" fmla="*/ 3 w 188"/>
                <a:gd name="T9" fmla="*/ 56 h 139"/>
                <a:gd name="T10" fmla="*/ 99 w 188"/>
                <a:gd name="T11" fmla="*/ 128 h 139"/>
                <a:gd name="T12" fmla="*/ 147 w 188"/>
                <a:gd name="T13" fmla="*/ 120 h 1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8" h="139">
                  <a:moveTo>
                    <a:pt x="11" y="0"/>
                  </a:moveTo>
                  <a:cubicBezTo>
                    <a:pt x="36" y="26"/>
                    <a:pt x="62" y="53"/>
                    <a:pt x="91" y="56"/>
                  </a:cubicBezTo>
                  <a:cubicBezTo>
                    <a:pt x="120" y="59"/>
                    <a:pt x="188" y="11"/>
                    <a:pt x="187" y="16"/>
                  </a:cubicBezTo>
                  <a:cubicBezTo>
                    <a:pt x="186" y="21"/>
                    <a:pt x="114" y="81"/>
                    <a:pt x="83" y="88"/>
                  </a:cubicBezTo>
                  <a:cubicBezTo>
                    <a:pt x="52" y="95"/>
                    <a:pt x="0" y="49"/>
                    <a:pt x="3" y="56"/>
                  </a:cubicBezTo>
                  <a:cubicBezTo>
                    <a:pt x="6" y="63"/>
                    <a:pt x="75" y="117"/>
                    <a:pt x="99" y="128"/>
                  </a:cubicBezTo>
                  <a:cubicBezTo>
                    <a:pt x="123" y="139"/>
                    <a:pt x="135" y="129"/>
                    <a:pt x="147" y="120"/>
                  </a:cubicBezTo>
                </a:path>
              </a:pathLst>
            </a:custGeom>
            <a:noFill/>
            <a:ln w="19050" cap="flat" cmpd="sng">
              <a:solidFill>
                <a:srgbClr val="DAAD8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9" name="Rectangle 8"/>
          <p:cNvSpPr/>
          <p:nvPr/>
        </p:nvSpPr>
        <p:spPr>
          <a:xfrm>
            <a:off x="3862958" y="3602388"/>
            <a:ext cx="1296144" cy="288032"/>
          </a:xfrm>
          <a:prstGeom prst="rect">
            <a:avLst/>
          </a:prstGeom>
          <a:noFill/>
          <a:ln w="28575">
            <a:solidFill>
              <a:srgbClr val="E4003A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val="26974550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9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7 L -0.2625 -0.63889 " pathEditMode="relative" rAng="0" ptsTypes="AA">
                                      <p:cBhvr>
                                        <p:cTn id="11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125" y="-3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6" presetClass="emph" presetSubtype="0" decel="5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100" fill="hold"/>
                                        <p:tgtEl>
                                          <p:spTgt spid="135"/>
                                        </p:tgtEl>
                                      </p:cBhvr>
                                      <p:by x="10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00"/>
                            </p:stCondLst>
                            <p:childTnLst>
                              <p:par>
                                <p:cTn id="16" presetID="2" presetClass="exit" presetSubtype="4" ac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7" dur="300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300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 tmFilter="0, 0; .2, .5; .8, .5; 1, 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250" autoRev="1" fill="hold"/>
                                        <p:tgtEl>
                                          <p:spTgt spid="13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2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9" grpId="0" animBg="1"/>
      <p:bldP spid="9" grpId="1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4C536D6-B736-49CE-A15A-036B8228C5C7}" type="datetime1">
              <a:rPr lang="en-GB" smtClean="0"/>
              <a:t>16/07/2019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endParaRPr lang="en-US">
              <a:latin typeface="Allianz Neo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Allianz Neo" pitchFamily="34" charset="0"/>
              </a:rPr>
              <a:t>IDS Service package DASHBOARD :: Data sourcing</a:t>
            </a:r>
            <a:endParaRPr lang="en-US" dirty="0">
              <a:latin typeface="Allianz Neo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63724" y="1019622"/>
            <a:ext cx="2823170" cy="760959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  <a:t>Service Package </a:t>
            </a:r>
            <a:b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</a:b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  <a:t>level</a:t>
            </a:r>
          </a:p>
        </p:txBody>
      </p:sp>
      <p:grpSp>
        <p:nvGrpSpPr>
          <p:cNvPr id="148" name="Group 147"/>
          <p:cNvGrpSpPr/>
          <p:nvPr/>
        </p:nvGrpSpPr>
        <p:grpSpPr>
          <a:xfrm>
            <a:off x="1494174" y="1197546"/>
            <a:ext cx="8177734" cy="7180769"/>
            <a:chOff x="1494174" y="1197546"/>
            <a:chExt cx="8177734" cy="7180769"/>
          </a:xfrm>
        </p:grpSpPr>
        <p:grpSp>
          <p:nvGrpSpPr>
            <p:cNvPr id="10" name="Group 9"/>
            <p:cNvGrpSpPr/>
            <p:nvPr/>
          </p:nvGrpSpPr>
          <p:grpSpPr>
            <a:xfrm>
              <a:off x="1494174" y="1197546"/>
              <a:ext cx="8177734" cy="7180769"/>
              <a:chOff x="1120776" y="627534"/>
              <a:chExt cx="6134098" cy="5384330"/>
            </a:xfrm>
          </p:grpSpPr>
          <p:grpSp>
            <p:nvGrpSpPr>
              <p:cNvPr id="57" name="Group 56"/>
              <p:cNvGrpSpPr/>
              <p:nvPr/>
            </p:nvGrpSpPr>
            <p:grpSpPr>
              <a:xfrm>
                <a:off x="2147888" y="627534"/>
                <a:ext cx="5106986" cy="3933826"/>
                <a:chOff x="2147888" y="320676"/>
                <a:chExt cx="5106988" cy="3933825"/>
              </a:xfrm>
            </p:grpSpPr>
            <p:sp>
              <p:nvSpPr>
                <p:cNvPr id="119" name="Freeform 7"/>
                <p:cNvSpPr>
                  <a:spLocks/>
                </p:cNvSpPr>
                <p:nvPr/>
              </p:nvSpPr>
              <p:spPr bwMode="auto">
                <a:xfrm>
                  <a:off x="2147888" y="320676"/>
                  <a:ext cx="5097463" cy="3933825"/>
                </a:xfrm>
                <a:custGeom>
                  <a:avLst/>
                  <a:gdLst>
                    <a:gd name="T0" fmla="*/ 1047 w 1047"/>
                    <a:gd name="T1" fmla="*/ 772 h 808"/>
                    <a:gd name="T2" fmla="*/ 1047 w 1047"/>
                    <a:gd name="T3" fmla="*/ 36 h 808"/>
                    <a:gd name="T4" fmla="*/ 1011 w 1047"/>
                    <a:gd name="T5" fmla="*/ 0 h 808"/>
                    <a:gd name="T6" fmla="*/ 36 w 1047"/>
                    <a:gd name="T7" fmla="*/ 0 h 808"/>
                    <a:gd name="T8" fmla="*/ 0 w 1047"/>
                    <a:gd name="T9" fmla="*/ 36 h 808"/>
                    <a:gd name="T10" fmla="*/ 0 w 1047"/>
                    <a:gd name="T11" fmla="*/ 772 h 808"/>
                    <a:gd name="T12" fmla="*/ 36 w 1047"/>
                    <a:gd name="T13" fmla="*/ 808 h 808"/>
                    <a:gd name="T14" fmla="*/ 1011 w 1047"/>
                    <a:gd name="T15" fmla="*/ 808 h 808"/>
                    <a:gd name="T16" fmla="*/ 1047 w 1047"/>
                    <a:gd name="T17" fmla="*/ 772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7" h="808">
                      <a:moveTo>
                        <a:pt x="1047" y="772"/>
                      </a:moveTo>
                      <a:cubicBezTo>
                        <a:pt x="1047" y="36"/>
                        <a:pt x="1047" y="36"/>
                        <a:pt x="1047" y="36"/>
                      </a:cubicBezTo>
                      <a:cubicBezTo>
                        <a:pt x="1047" y="17"/>
                        <a:pt x="1031" y="0"/>
                        <a:pt x="1011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16" y="0"/>
                        <a:pt x="0" y="17"/>
                        <a:pt x="0" y="36"/>
                      </a:cubicBezTo>
                      <a:cubicBezTo>
                        <a:pt x="0" y="772"/>
                        <a:pt x="0" y="772"/>
                        <a:pt x="0" y="772"/>
                      </a:cubicBezTo>
                      <a:cubicBezTo>
                        <a:pt x="0" y="792"/>
                        <a:pt x="16" y="808"/>
                        <a:pt x="36" y="808"/>
                      </a:cubicBezTo>
                      <a:cubicBezTo>
                        <a:pt x="1011" y="808"/>
                        <a:pt x="1011" y="808"/>
                        <a:pt x="1011" y="808"/>
                      </a:cubicBezTo>
                      <a:cubicBezTo>
                        <a:pt x="1031" y="808"/>
                        <a:pt x="1047" y="792"/>
                        <a:pt x="1047" y="772"/>
                      </a:cubicBezTo>
                    </a:path>
                  </a:pathLst>
                </a:custGeom>
                <a:solidFill>
                  <a:srgbClr val="21242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" name="Freeform 8"/>
                <p:cNvSpPr>
                  <a:spLocks/>
                </p:cNvSpPr>
                <p:nvPr/>
              </p:nvSpPr>
              <p:spPr bwMode="auto">
                <a:xfrm>
                  <a:off x="4656138" y="320676"/>
                  <a:ext cx="2598738" cy="2093913"/>
                </a:xfrm>
                <a:custGeom>
                  <a:avLst/>
                  <a:gdLst>
                    <a:gd name="T0" fmla="*/ 534 w 534"/>
                    <a:gd name="T1" fmla="*/ 430 h 430"/>
                    <a:gd name="T2" fmla="*/ 534 w 534"/>
                    <a:gd name="T3" fmla="*/ 36 h 430"/>
                    <a:gd name="T4" fmla="*/ 498 w 534"/>
                    <a:gd name="T5" fmla="*/ 0 h 430"/>
                    <a:gd name="T6" fmla="*/ 0 w 534"/>
                    <a:gd name="T7" fmla="*/ 0 h 430"/>
                    <a:gd name="T8" fmla="*/ 534 w 534"/>
                    <a:gd name="T9" fmla="*/ 430 h 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4" h="430">
                      <a:moveTo>
                        <a:pt x="534" y="430"/>
                      </a:moveTo>
                      <a:cubicBezTo>
                        <a:pt x="534" y="36"/>
                        <a:pt x="534" y="36"/>
                        <a:pt x="534" y="36"/>
                      </a:cubicBezTo>
                      <a:cubicBezTo>
                        <a:pt x="534" y="17"/>
                        <a:pt x="518" y="0"/>
                        <a:pt x="49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534" y="430"/>
                      </a:lnTo>
                      <a:close/>
                    </a:path>
                  </a:pathLst>
                </a:custGeom>
                <a:solidFill>
                  <a:srgbClr val="5A5A5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" name="Freeform 10"/>
                <p:cNvSpPr>
                  <a:spLocks/>
                </p:cNvSpPr>
                <p:nvPr/>
              </p:nvSpPr>
              <p:spPr bwMode="auto">
                <a:xfrm>
                  <a:off x="2659063" y="739776"/>
                  <a:ext cx="4129088" cy="3095625"/>
                </a:xfrm>
                <a:custGeom>
                  <a:avLst/>
                  <a:gdLst>
                    <a:gd name="T0" fmla="*/ 848 w 848"/>
                    <a:gd name="T1" fmla="*/ 635 h 636"/>
                    <a:gd name="T2" fmla="*/ 847 w 848"/>
                    <a:gd name="T3" fmla="*/ 636 h 636"/>
                    <a:gd name="T4" fmla="*/ 2 w 848"/>
                    <a:gd name="T5" fmla="*/ 636 h 636"/>
                    <a:gd name="T6" fmla="*/ 0 w 848"/>
                    <a:gd name="T7" fmla="*/ 635 h 636"/>
                    <a:gd name="T8" fmla="*/ 0 w 848"/>
                    <a:gd name="T9" fmla="*/ 2 h 636"/>
                    <a:gd name="T10" fmla="*/ 2 w 848"/>
                    <a:gd name="T11" fmla="*/ 0 h 636"/>
                    <a:gd name="T12" fmla="*/ 847 w 848"/>
                    <a:gd name="T13" fmla="*/ 0 h 636"/>
                    <a:gd name="T14" fmla="*/ 848 w 848"/>
                    <a:gd name="T15" fmla="*/ 2 h 636"/>
                    <a:gd name="T16" fmla="*/ 848 w 848"/>
                    <a:gd name="T17" fmla="*/ 635 h 6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8" h="636">
                      <a:moveTo>
                        <a:pt x="848" y="635"/>
                      </a:moveTo>
                      <a:cubicBezTo>
                        <a:pt x="848" y="636"/>
                        <a:pt x="847" y="636"/>
                        <a:pt x="847" y="636"/>
                      </a:cubicBezTo>
                      <a:cubicBezTo>
                        <a:pt x="2" y="636"/>
                        <a:pt x="2" y="636"/>
                        <a:pt x="2" y="636"/>
                      </a:cubicBezTo>
                      <a:cubicBezTo>
                        <a:pt x="1" y="636"/>
                        <a:pt x="0" y="636"/>
                        <a:pt x="0" y="63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847" y="0"/>
                        <a:pt x="847" y="0"/>
                        <a:pt x="847" y="0"/>
                      </a:cubicBezTo>
                      <a:cubicBezTo>
                        <a:pt x="847" y="0"/>
                        <a:pt x="848" y="1"/>
                        <a:pt x="848" y="2"/>
                      </a:cubicBezTo>
                      <a:lnTo>
                        <a:pt x="848" y="63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grpSp>
            <p:nvGrpSpPr>
              <p:cNvPr id="58" name="Group 57"/>
              <p:cNvGrpSpPr/>
              <p:nvPr/>
            </p:nvGrpSpPr>
            <p:grpSpPr>
              <a:xfrm>
                <a:off x="1120776" y="2492376"/>
                <a:ext cx="1436688" cy="3519488"/>
                <a:chOff x="1120776" y="2492376"/>
                <a:chExt cx="1436688" cy="3519488"/>
              </a:xfrm>
            </p:grpSpPr>
            <p:sp>
              <p:nvSpPr>
                <p:cNvPr id="59" name="Freeform 64"/>
                <p:cNvSpPr>
                  <a:spLocks/>
                </p:cNvSpPr>
                <p:nvPr/>
              </p:nvSpPr>
              <p:spPr bwMode="auto">
                <a:xfrm>
                  <a:off x="2411413" y="2598738"/>
                  <a:ext cx="131763" cy="1655763"/>
                </a:xfrm>
                <a:custGeom>
                  <a:avLst/>
                  <a:gdLst>
                    <a:gd name="T0" fmla="*/ 14 w 27"/>
                    <a:gd name="T1" fmla="*/ 0 h 340"/>
                    <a:gd name="T2" fmla="*/ 15 w 27"/>
                    <a:gd name="T3" fmla="*/ 5 h 340"/>
                    <a:gd name="T4" fmla="*/ 22 w 27"/>
                    <a:gd name="T5" fmla="*/ 59 h 340"/>
                    <a:gd name="T6" fmla="*/ 3 w 27"/>
                    <a:gd name="T7" fmla="*/ 161 h 340"/>
                    <a:gd name="T8" fmla="*/ 6 w 27"/>
                    <a:gd name="T9" fmla="*/ 235 h 340"/>
                    <a:gd name="T10" fmla="*/ 23 w 27"/>
                    <a:gd name="T11" fmla="*/ 340 h 340"/>
                    <a:gd name="T12" fmla="*/ 27 w 27"/>
                    <a:gd name="T13" fmla="*/ 340 h 340"/>
                    <a:gd name="T14" fmla="*/ 10 w 27"/>
                    <a:gd name="T15" fmla="*/ 239 h 340"/>
                    <a:gd name="T16" fmla="*/ 7 w 27"/>
                    <a:gd name="T17" fmla="*/ 165 h 340"/>
                    <a:gd name="T18" fmla="*/ 26 w 27"/>
                    <a:gd name="T19" fmla="*/ 64 h 340"/>
                    <a:gd name="T20" fmla="*/ 14 w 27"/>
                    <a:gd name="T21" fmla="*/ 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7" h="340">
                      <a:moveTo>
                        <a:pt x="14" y="0"/>
                      </a:moveTo>
                      <a:cubicBezTo>
                        <a:pt x="14" y="2"/>
                        <a:pt x="14" y="4"/>
                        <a:pt x="15" y="5"/>
                      </a:cubicBezTo>
                      <a:cubicBezTo>
                        <a:pt x="22" y="22"/>
                        <a:pt x="23" y="45"/>
                        <a:pt x="22" y="59"/>
                      </a:cubicBezTo>
                      <a:cubicBezTo>
                        <a:pt x="21" y="83"/>
                        <a:pt x="5" y="134"/>
                        <a:pt x="3" y="161"/>
                      </a:cubicBezTo>
                      <a:cubicBezTo>
                        <a:pt x="0" y="188"/>
                        <a:pt x="8" y="211"/>
                        <a:pt x="6" y="235"/>
                      </a:cubicBezTo>
                      <a:cubicBezTo>
                        <a:pt x="4" y="254"/>
                        <a:pt x="21" y="296"/>
                        <a:pt x="23" y="340"/>
                      </a:cubicBezTo>
                      <a:cubicBezTo>
                        <a:pt x="27" y="340"/>
                        <a:pt x="27" y="340"/>
                        <a:pt x="27" y="340"/>
                      </a:cubicBezTo>
                      <a:cubicBezTo>
                        <a:pt x="24" y="297"/>
                        <a:pt x="8" y="258"/>
                        <a:pt x="10" y="239"/>
                      </a:cubicBezTo>
                      <a:cubicBezTo>
                        <a:pt x="12" y="216"/>
                        <a:pt x="5" y="192"/>
                        <a:pt x="7" y="165"/>
                      </a:cubicBezTo>
                      <a:cubicBezTo>
                        <a:pt x="9" y="138"/>
                        <a:pt x="25" y="87"/>
                        <a:pt x="26" y="64"/>
                      </a:cubicBezTo>
                      <a:cubicBezTo>
                        <a:pt x="27" y="47"/>
                        <a:pt x="26" y="17"/>
                        <a:pt x="14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0" name="Freeform 65"/>
                <p:cNvSpPr>
                  <a:spLocks/>
                </p:cNvSpPr>
                <p:nvPr/>
              </p:nvSpPr>
              <p:spPr bwMode="auto">
                <a:xfrm>
                  <a:off x="2459038" y="2565401"/>
                  <a:ext cx="20638" cy="33338"/>
                </a:xfrm>
                <a:custGeom>
                  <a:avLst/>
                  <a:gdLst>
                    <a:gd name="T0" fmla="*/ 0 w 4"/>
                    <a:gd name="T1" fmla="*/ 0 h 7"/>
                    <a:gd name="T2" fmla="*/ 2 w 4"/>
                    <a:gd name="T3" fmla="*/ 5 h 7"/>
                    <a:gd name="T4" fmla="*/ 4 w 4"/>
                    <a:gd name="T5" fmla="*/ 7 h 7"/>
                    <a:gd name="T6" fmla="*/ 0 w 4"/>
                    <a:gd name="T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7">
                      <a:moveTo>
                        <a:pt x="0" y="0"/>
                      </a:moveTo>
                      <a:cubicBezTo>
                        <a:pt x="1" y="2"/>
                        <a:pt x="1" y="3"/>
                        <a:pt x="2" y="5"/>
                      </a:cubicBezTo>
                      <a:cubicBezTo>
                        <a:pt x="2" y="6"/>
                        <a:pt x="3" y="6"/>
                        <a:pt x="4" y="7"/>
                      </a:cubicBezTo>
                      <a:cubicBezTo>
                        <a:pt x="3" y="4"/>
                        <a:pt x="2" y="2"/>
                        <a:pt x="0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1" name="Freeform 66"/>
                <p:cNvSpPr>
                  <a:spLocks/>
                </p:cNvSpPr>
                <p:nvPr/>
              </p:nvSpPr>
              <p:spPr bwMode="auto">
                <a:xfrm>
                  <a:off x="2470151" y="2589213"/>
                  <a:ext cx="14288" cy="33338"/>
                </a:xfrm>
                <a:custGeom>
                  <a:avLst/>
                  <a:gdLst>
                    <a:gd name="T0" fmla="*/ 0 w 3"/>
                    <a:gd name="T1" fmla="*/ 0 h 7"/>
                    <a:gd name="T2" fmla="*/ 0 w 3"/>
                    <a:gd name="T3" fmla="*/ 2 h 7"/>
                    <a:gd name="T4" fmla="*/ 3 w 3"/>
                    <a:gd name="T5" fmla="*/ 7 h 7"/>
                    <a:gd name="T6" fmla="*/ 2 w 3"/>
                    <a:gd name="T7" fmla="*/ 2 h 7"/>
                    <a:gd name="T8" fmla="*/ 0 w 3"/>
                    <a:gd name="T9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7">
                      <a:moveTo>
                        <a:pt x="0" y="0"/>
                      </a:moveTo>
                      <a:cubicBezTo>
                        <a:pt x="0" y="1"/>
                        <a:pt x="0" y="1"/>
                        <a:pt x="0" y="2"/>
                      </a:cubicBezTo>
                      <a:cubicBezTo>
                        <a:pt x="1" y="4"/>
                        <a:pt x="2" y="6"/>
                        <a:pt x="3" y="7"/>
                      </a:cubicBezTo>
                      <a:cubicBezTo>
                        <a:pt x="2" y="6"/>
                        <a:pt x="2" y="4"/>
                        <a:pt x="2" y="2"/>
                      </a:cubicBez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1B1D1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2" name="Freeform 68"/>
                <p:cNvSpPr>
                  <a:spLocks/>
                </p:cNvSpPr>
                <p:nvPr/>
              </p:nvSpPr>
              <p:spPr bwMode="auto">
                <a:xfrm>
                  <a:off x="1120776" y="3286126"/>
                  <a:ext cx="311150" cy="2725738"/>
                </a:xfrm>
                <a:custGeom>
                  <a:avLst/>
                  <a:gdLst>
                    <a:gd name="T0" fmla="*/ 0 w 64"/>
                    <a:gd name="T1" fmla="*/ 560 h 560"/>
                    <a:gd name="T2" fmla="*/ 62 w 64"/>
                    <a:gd name="T3" fmla="*/ 313 h 560"/>
                    <a:gd name="T4" fmla="*/ 57 w 64"/>
                    <a:gd name="T5" fmla="*/ 0 h 5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4" h="560">
                      <a:moveTo>
                        <a:pt x="0" y="560"/>
                      </a:moveTo>
                      <a:cubicBezTo>
                        <a:pt x="19" y="510"/>
                        <a:pt x="64" y="401"/>
                        <a:pt x="62" y="313"/>
                      </a:cubicBezTo>
                      <a:cubicBezTo>
                        <a:pt x="59" y="218"/>
                        <a:pt x="19" y="10"/>
                        <a:pt x="57" y="0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3" name="Freeform 69"/>
                <p:cNvSpPr>
                  <a:spLocks/>
                </p:cNvSpPr>
                <p:nvPr/>
              </p:nvSpPr>
              <p:spPr bwMode="auto">
                <a:xfrm>
                  <a:off x="1120776" y="2492376"/>
                  <a:ext cx="1436688" cy="3519488"/>
                </a:xfrm>
                <a:custGeom>
                  <a:avLst/>
                  <a:gdLst>
                    <a:gd name="T0" fmla="*/ 57 w 295"/>
                    <a:gd name="T1" fmla="*/ 163 h 723"/>
                    <a:gd name="T2" fmla="*/ 129 w 295"/>
                    <a:gd name="T3" fmla="*/ 133 h 723"/>
                    <a:gd name="T4" fmla="*/ 191 w 295"/>
                    <a:gd name="T5" fmla="*/ 104 h 723"/>
                    <a:gd name="T6" fmla="*/ 202 w 295"/>
                    <a:gd name="T7" fmla="*/ 50 h 723"/>
                    <a:gd name="T8" fmla="*/ 255 w 295"/>
                    <a:gd name="T9" fmla="*/ 5 h 723"/>
                    <a:gd name="T10" fmla="*/ 287 w 295"/>
                    <a:gd name="T11" fmla="*/ 81 h 723"/>
                    <a:gd name="T12" fmla="*/ 268 w 295"/>
                    <a:gd name="T13" fmla="*/ 183 h 723"/>
                    <a:gd name="T14" fmla="*/ 271 w 295"/>
                    <a:gd name="T15" fmla="*/ 257 h 723"/>
                    <a:gd name="T16" fmla="*/ 287 w 295"/>
                    <a:gd name="T17" fmla="*/ 394 h 723"/>
                    <a:gd name="T18" fmla="*/ 231 w 295"/>
                    <a:gd name="T19" fmla="*/ 549 h 723"/>
                    <a:gd name="T20" fmla="*/ 188 w 295"/>
                    <a:gd name="T21" fmla="*/ 723 h 723"/>
                    <a:gd name="T22" fmla="*/ 0 w 295"/>
                    <a:gd name="T23" fmla="*/ 723 h 723"/>
                    <a:gd name="T24" fmla="*/ 57 w 295"/>
                    <a:gd name="T25" fmla="*/ 163 h 7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95" h="723">
                      <a:moveTo>
                        <a:pt x="57" y="163"/>
                      </a:moveTo>
                      <a:cubicBezTo>
                        <a:pt x="72" y="151"/>
                        <a:pt x="106" y="143"/>
                        <a:pt x="129" y="133"/>
                      </a:cubicBezTo>
                      <a:cubicBezTo>
                        <a:pt x="153" y="122"/>
                        <a:pt x="185" y="107"/>
                        <a:pt x="191" y="104"/>
                      </a:cubicBezTo>
                      <a:cubicBezTo>
                        <a:pt x="196" y="101"/>
                        <a:pt x="195" y="74"/>
                        <a:pt x="202" y="50"/>
                      </a:cubicBezTo>
                      <a:cubicBezTo>
                        <a:pt x="210" y="27"/>
                        <a:pt x="224" y="0"/>
                        <a:pt x="255" y="5"/>
                      </a:cubicBezTo>
                      <a:cubicBezTo>
                        <a:pt x="286" y="11"/>
                        <a:pt x="288" y="58"/>
                        <a:pt x="287" y="81"/>
                      </a:cubicBezTo>
                      <a:cubicBezTo>
                        <a:pt x="286" y="105"/>
                        <a:pt x="270" y="156"/>
                        <a:pt x="268" y="183"/>
                      </a:cubicBezTo>
                      <a:cubicBezTo>
                        <a:pt x="265" y="210"/>
                        <a:pt x="273" y="233"/>
                        <a:pt x="271" y="257"/>
                      </a:cubicBezTo>
                      <a:cubicBezTo>
                        <a:pt x="269" y="281"/>
                        <a:pt x="295" y="339"/>
                        <a:pt x="287" y="394"/>
                      </a:cubicBezTo>
                      <a:cubicBezTo>
                        <a:pt x="279" y="449"/>
                        <a:pt x="249" y="502"/>
                        <a:pt x="231" y="549"/>
                      </a:cubicBezTo>
                      <a:cubicBezTo>
                        <a:pt x="215" y="594"/>
                        <a:pt x="192" y="670"/>
                        <a:pt x="188" y="723"/>
                      </a:cubicBezTo>
                      <a:cubicBezTo>
                        <a:pt x="0" y="723"/>
                        <a:pt x="0" y="723"/>
                        <a:pt x="0" y="723"/>
                      </a:cubicBezTo>
                      <a:cubicBezTo>
                        <a:pt x="57" y="163"/>
                        <a:pt x="57" y="163"/>
                        <a:pt x="57" y="163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4" name="Freeform 70"/>
                <p:cNvSpPr>
                  <a:spLocks/>
                </p:cNvSpPr>
                <p:nvPr/>
              </p:nvSpPr>
              <p:spPr bwMode="auto">
                <a:xfrm>
                  <a:off x="2060576" y="2968626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C1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5" name="Freeform 71"/>
                <p:cNvSpPr>
                  <a:spLocks noEditPoints="1"/>
                </p:cNvSpPr>
                <p:nvPr/>
              </p:nvSpPr>
              <p:spPr bwMode="auto">
                <a:xfrm>
                  <a:off x="1700213" y="2968626"/>
                  <a:ext cx="360363" cy="842963"/>
                </a:xfrm>
                <a:custGeom>
                  <a:avLst/>
                  <a:gdLst>
                    <a:gd name="T0" fmla="*/ 74 w 74"/>
                    <a:gd name="T1" fmla="*/ 3 h 173"/>
                    <a:gd name="T2" fmla="*/ 56 w 74"/>
                    <a:gd name="T3" fmla="*/ 50 h 173"/>
                    <a:gd name="T4" fmla="*/ 52 w 74"/>
                    <a:gd name="T5" fmla="*/ 49 h 173"/>
                    <a:gd name="T6" fmla="*/ 39 w 74"/>
                    <a:gd name="T7" fmla="*/ 44 h 173"/>
                    <a:gd name="T8" fmla="*/ 51 w 74"/>
                    <a:gd name="T9" fmla="*/ 57 h 173"/>
                    <a:gd name="T10" fmla="*/ 57 w 74"/>
                    <a:gd name="T11" fmla="*/ 66 h 173"/>
                    <a:gd name="T12" fmla="*/ 9 w 74"/>
                    <a:gd name="T13" fmla="*/ 53 h 173"/>
                    <a:gd name="T14" fmla="*/ 4 w 74"/>
                    <a:gd name="T15" fmla="*/ 53 h 173"/>
                    <a:gd name="T16" fmla="*/ 58 w 74"/>
                    <a:gd name="T17" fmla="*/ 83 h 173"/>
                    <a:gd name="T18" fmla="*/ 53 w 74"/>
                    <a:gd name="T19" fmla="*/ 92 h 173"/>
                    <a:gd name="T20" fmla="*/ 16 w 74"/>
                    <a:gd name="T21" fmla="*/ 77 h 173"/>
                    <a:gd name="T22" fmla="*/ 12 w 74"/>
                    <a:gd name="T23" fmla="*/ 76 h 173"/>
                    <a:gd name="T24" fmla="*/ 49 w 74"/>
                    <a:gd name="T25" fmla="*/ 108 h 173"/>
                    <a:gd name="T26" fmla="*/ 21 w 74"/>
                    <a:gd name="T27" fmla="*/ 139 h 173"/>
                    <a:gd name="T28" fmla="*/ 14 w 74"/>
                    <a:gd name="T29" fmla="*/ 144 h 173"/>
                    <a:gd name="T30" fmla="*/ 32 w 74"/>
                    <a:gd name="T31" fmla="*/ 142 h 173"/>
                    <a:gd name="T32" fmla="*/ 32 w 74"/>
                    <a:gd name="T33" fmla="*/ 142 h 173"/>
                    <a:gd name="T34" fmla="*/ 30 w 74"/>
                    <a:gd name="T35" fmla="*/ 158 h 173"/>
                    <a:gd name="T36" fmla="*/ 20 w 74"/>
                    <a:gd name="T37" fmla="*/ 173 h 173"/>
                    <a:gd name="T38" fmla="*/ 20 w 74"/>
                    <a:gd name="T39" fmla="*/ 173 h 173"/>
                    <a:gd name="T40" fmla="*/ 33 w 74"/>
                    <a:gd name="T41" fmla="*/ 158 h 173"/>
                    <a:gd name="T42" fmla="*/ 74 w 74"/>
                    <a:gd name="T43" fmla="*/ 3 h 173"/>
                    <a:gd name="T44" fmla="*/ 74 w 74"/>
                    <a:gd name="T45" fmla="*/ 0 h 173"/>
                    <a:gd name="T46" fmla="*/ 74 w 74"/>
                    <a:gd name="T47" fmla="*/ 1 h 173"/>
                    <a:gd name="T48" fmla="*/ 74 w 74"/>
                    <a:gd name="T49" fmla="*/ 3 h 173"/>
                    <a:gd name="T50" fmla="*/ 74 w 74"/>
                    <a:gd name="T51" fmla="*/ 0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74" h="173">
                      <a:moveTo>
                        <a:pt x="74" y="3"/>
                      </a:moveTo>
                      <a:cubicBezTo>
                        <a:pt x="69" y="39"/>
                        <a:pt x="63" y="50"/>
                        <a:pt x="56" y="50"/>
                      </a:cubicBezTo>
                      <a:cubicBezTo>
                        <a:pt x="55" y="50"/>
                        <a:pt x="54" y="49"/>
                        <a:pt x="52" y="49"/>
                      </a:cubicBezTo>
                      <a:cubicBezTo>
                        <a:pt x="48" y="47"/>
                        <a:pt x="41" y="44"/>
                        <a:pt x="39" y="44"/>
                      </a:cubicBezTo>
                      <a:cubicBezTo>
                        <a:pt x="36" y="44"/>
                        <a:pt x="38" y="47"/>
                        <a:pt x="51" y="57"/>
                      </a:cubicBezTo>
                      <a:cubicBezTo>
                        <a:pt x="59" y="64"/>
                        <a:pt x="60" y="66"/>
                        <a:pt x="57" y="66"/>
                      </a:cubicBezTo>
                      <a:cubicBezTo>
                        <a:pt x="50" y="66"/>
                        <a:pt x="24" y="56"/>
                        <a:pt x="9" y="53"/>
                      </a:cubicBezTo>
                      <a:cubicBezTo>
                        <a:pt x="6" y="53"/>
                        <a:pt x="5" y="53"/>
                        <a:pt x="4" y="53"/>
                      </a:cubicBezTo>
                      <a:cubicBezTo>
                        <a:pt x="0" y="53"/>
                        <a:pt x="56" y="64"/>
                        <a:pt x="58" y="83"/>
                      </a:cubicBezTo>
                      <a:cubicBezTo>
                        <a:pt x="59" y="89"/>
                        <a:pt x="57" y="92"/>
                        <a:pt x="53" y="92"/>
                      </a:cubicBezTo>
                      <a:cubicBezTo>
                        <a:pt x="44" y="92"/>
                        <a:pt x="27" y="81"/>
                        <a:pt x="16" y="77"/>
                      </a:cubicBezTo>
                      <a:cubicBezTo>
                        <a:pt x="14" y="77"/>
                        <a:pt x="13" y="76"/>
                        <a:pt x="12" y="76"/>
                      </a:cubicBezTo>
                      <a:cubicBezTo>
                        <a:pt x="7" y="76"/>
                        <a:pt x="42" y="98"/>
                        <a:pt x="49" y="108"/>
                      </a:cubicBezTo>
                      <a:cubicBezTo>
                        <a:pt x="58" y="119"/>
                        <a:pt x="41" y="133"/>
                        <a:pt x="21" y="139"/>
                      </a:cubicBezTo>
                      <a:cubicBezTo>
                        <a:pt x="10" y="143"/>
                        <a:pt x="9" y="144"/>
                        <a:pt x="14" y="144"/>
                      </a:cubicBezTo>
                      <a:cubicBezTo>
                        <a:pt x="17" y="144"/>
                        <a:pt x="24" y="143"/>
                        <a:pt x="32" y="142"/>
                      </a:cubicBezTo>
                      <a:cubicBezTo>
                        <a:pt x="32" y="142"/>
                        <a:pt x="32" y="142"/>
                        <a:pt x="32" y="142"/>
                      </a:cubicBezTo>
                      <a:cubicBezTo>
                        <a:pt x="38" y="142"/>
                        <a:pt x="35" y="150"/>
                        <a:pt x="30" y="158"/>
                      </a:cubicBezTo>
                      <a:cubicBezTo>
                        <a:pt x="26" y="165"/>
                        <a:pt x="20" y="173"/>
                        <a:pt x="20" y="173"/>
                      </a:cubicBezTo>
                      <a:cubicBezTo>
                        <a:pt x="20" y="173"/>
                        <a:pt x="20" y="173"/>
                        <a:pt x="20" y="173"/>
                      </a:cubicBezTo>
                      <a:cubicBezTo>
                        <a:pt x="21" y="173"/>
                        <a:pt x="24" y="169"/>
                        <a:pt x="33" y="158"/>
                      </a:cubicBezTo>
                      <a:cubicBezTo>
                        <a:pt x="67" y="116"/>
                        <a:pt x="71" y="25"/>
                        <a:pt x="74" y="3"/>
                      </a:cubicBezTo>
                      <a:moveTo>
                        <a:pt x="74" y="0"/>
                      </a:moveTo>
                      <a:cubicBezTo>
                        <a:pt x="74" y="1"/>
                        <a:pt x="74" y="1"/>
                        <a:pt x="74" y="1"/>
                      </a:cubicBezTo>
                      <a:cubicBezTo>
                        <a:pt x="74" y="1"/>
                        <a:pt x="74" y="2"/>
                        <a:pt x="74" y="3"/>
                      </a:cubicBezTo>
                      <a:cubicBezTo>
                        <a:pt x="74" y="2"/>
                        <a:pt x="74" y="1"/>
                        <a:pt x="7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6" name="Freeform 72"/>
                <p:cNvSpPr>
                  <a:spLocks noEditPoints="1"/>
                </p:cNvSpPr>
                <p:nvPr/>
              </p:nvSpPr>
              <p:spPr bwMode="auto">
                <a:xfrm>
                  <a:off x="2114551" y="2998788"/>
                  <a:ext cx="315913" cy="146050"/>
                </a:xfrm>
                <a:custGeom>
                  <a:avLst/>
                  <a:gdLst>
                    <a:gd name="T0" fmla="*/ 9 w 65"/>
                    <a:gd name="T1" fmla="*/ 18 h 30"/>
                    <a:gd name="T2" fmla="*/ 58 w 65"/>
                    <a:gd name="T3" fmla="*/ 30 h 30"/>
                    <a:gd name="T4" fmla="*/ 59 w 65"/>
                    <a:gd name="T5" fmla="*/ 30 h 30"/>
                    <a:gd name="T6" fmla="*/ 65 w 65"/>
                    <a:gd name="T7" fmla="*/ 30 h 30"/>
                    <a:gd name="T8" fmla="*/ 65 w 65"/>
                    <a:gd name="T9" fmla="*/ 30 h 30"/>
                    <a:gd name="T10" fmla="*/ 9 w 65"/>
                    <a:gd name="T11" fmla="*/ 18 h 30"/>
                    <a:gd name="T12" fmla="*/ 14 w 65"/>
                    <a:gd name="T13" fmla="*/ 0 h 30"/>
                    <a:gd name="T14" fmla="*/ 12 w 65"/>
                    <a:gd name="T15" fmla="*/ 0 h 30"/>
                    <a:gd name="T16" fmla="*/ 0 w 65"/>
                    <a:gd name="T17" fmla="*/ 1 h 30"/>
                    <a:gd name="T18" fmla="*/ 29 w 65"/>
                    <a:gd name="T19" fmla="*/ 4 h 30"/>
                    <a:gd name="T20" fmla="*/ 43 w 65"/>
                    <a:gd name="T21" fmla="*/ 2 h 30"/>
                    <a:gd name="T22" fmla="*/ 14 w 65"/>
                    <a:gd name="T23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5" h="30">
                      <a:moveTo>
                        <a:pt x="9" y="18"/>
                      </a:moveTo>
                      <a:cubicBezTo>
                        <a:pt x="22" y="24"/>
                        <a:pt x="44" y="30"/>
                        <a:pt x="58" y="30"/>
                      </a:cubicBezTo>
                      <a:cubicBezTo>
                        <a:pt x="59" y="30"/>
                        <a:pt x="59" y="30"/>
                        <a:pt x="59" y="30"/>
                      </a:cubicBezTo>
                      <a:cubicBezTo>
                        <a:pt x="62" y="30"/>
                        <a:pt x="64" y="30"/>
                        <a:pt x="65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55" y="29"/>
                        <a:pt x="26" y="21"/>
                        <a:pt x="9" y="18"/>
                      </a:cubicBezTo>
                      <a:moveTo>
                        <a:pt x="14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8" y="0"/>
                        <a:pt x="3" y="0"/>
                        <a:pt x="0" y="1"/>
                      </a:cubicBezTo>
                      <a:cubicBezTo>
                        <a:pt x="5" y="2"/>
                        <a:pt x="17" y="4"/>
                        <a:pt x="29" y="4"/>
                      </a:cubicBezTo>
                      <a:cubicBezTo>
                        <a:pt x="34" y="4"/>
                        <a:pt x="39" y="4"/>
                        <a:pt x="43" y="2"/>
                      </a:cubicBezTo>
                      <a:cubicBezTo>
                        <a:pt x="36" y="2"/>
                        <a:pt x="24" y="0"/>
                        <a:pt x="1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7" name="Freeform 73"/>
                <p:cNvSpPr>
                  <a:spLocks noEditPoints="1"/>
                </p:cNvSpPr>
                <p:nvPr/>
              </p:nvSpPr>
              <p:spPr bwMode="auto">
                <a:xfrm>
                  <a:off x="2211388" y="2497138"/>
                  <a:ext cx="247650" cy="68263"/>
                </a:xfrm>
                <a:custGeom>
                  <a:avLst/>
                  <a:gdLst>
                    <a:gd name="T0" fmla="*/ 34 w 51"/>
                    <a:gd name="T1" fmla="*/ 2 h 14"/>
                    <a:gd name="T2" fmla="*/ 34 w 51"/>
                    <a:gd name="T3" fmla="*/ 2 h 14"/>
                    <a:gd name="T4" fmla="*/ 37 w 51"/>
                    <a:gd name="T5" fmla="*/ 3 h 14"/>
                    <a:gd name="T6" fmla="*/ 37 w 51"/>
                    <a:gd name="T7" fmla="*/ 3 h 14"/>
                    <a:gd name="T8" fmla="*/ 36 w 51"/>
                    <a:gd name="T9" fmla="*/ 6 h 14"/>
                    <a:gd name="T10" fmla="*/ 51 w 51"/>
                    <a:gd name="T11" fmla="*/ 14 h 14"/>
                    <a:gd name="T12" fmla="*/ 34 w 51"/>
                    <a:gd name="T13" fmla="*/ 2 h 14"/>
                    <a:gd name="T14" fmla="*/ 26 w 51"/>
                    <a:gd name="T15" fmla="*/ 0 h 14"/>
                    <a:gd name="T16" fmla="*/ 26 w 51"/>
                    <a:gd name="T17" fmla="*/ 0 h 14"/>
                    <a:gd name="T18" fmla="*/ 26 w 51"/>
                    <a:gd name="T19" fmla="*/ 0 h 14"/>
                    <a:gd name="T20" fmla="*/ 20 w 51"/>
                    <a:gd name="T21" fmla="*/ 0 h 14"/>
                    <a:gd name="T22" fmla="*/ 0 w 51"/>
                    <a:gd name="T23" fmla="*/ 12 h 14"/>
                    <a:gd name="T24" fmla="*/ 19 w 51"/>
                    <a:gd name="T25" fmla="*/ 4 h 14"/>
                    <a:gd name="T26" fmla="*/ 19 w 51"/>
                    <a:gd name="T27" fmla="*/ 0 h 14"/>
                    <a:gd name="T28" fmla="*/ 20 w 51"/>
                    <a:gd name="T29" fmla="*/ 0 h 14"/>
                    <a:gd name="T30" fmla="*/ 26 w 51"/>
                    <a:gd name="T31" fmla="*/ 0 h 14"/>
                    <a:gd name="T32" fmla="*/ 20 w 51"/>
                    <a:gd name="T3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1" h="14">
                      <a:moveTo>
                        <a:pt x="34" y="2"/>
                      </a:moveTo>
                      <a:cubicBezTo>
                        <a:pt x="34" y="2"/>
                        <a:pt x="34" y="2"/>
                        <a:pt x="34" y="2"/>
                      </a:cubicBezTo>
                      <a:cubicBezTo>
                        <a:pt x="35" y="2"/>
                        <a:pt x="36" y="2"/>
                        <a:pt x="37" y="3"/>
                      </a:cubicBezTo>
                      <a:cubicBezTo>
                        <a:pt x="37" y="3"/>
                        <a:pt x="37" y="3"/>
                        <a:pt x="37" y="3"/>
                      </a:cubicBezTo>
                      <a:cubicBezTo>
                        <a:pt x="36" y="6"/>
                        <a:pt x="36" y="6"/>
                        <a:pt x="36" y="6"/>
                      </a:cubicBezTo>
                      <a:cubicBezTo>
                        <a:pt x="43" y="7"/>
                        <a:pt x="48" y="10"/>
                        <a:pt x="51" y="14"/>
                      </a:cubicBezTo>
                      <a:cubicBezTo>
                        <a:pt x="48" y="7"/>
                        <a:pt x="42" y="4"/>
                        <a:pt x="34" y="2"/>
                      </a:cubicBezTo>
                      <a:moveTo>
                        <a:pt x="26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moveTo>
                        <a:pt x="20" y="0"/>
                      </a:moveTo>
                      <a:cubicBezTo>
                        <a:pt x="9" y="0"/>
                        <a:pt x="3" y="4"/>
                        <a:pt x="0" y="12"/>
                      </a:cubicBezTo>
                      <a:cubicBezTo>
                        <a:pt x="5" y="8"/>
                        <a:pt x="11" y="5"/>
                        <a:pt x="19" y="4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2" y="0"/>
                        <a:pt x="24" y="0"/>
                        <a:pt x="26" y="0"/>
                      </a:cubicBezTo>
                      <a:cubicBezTo>
                        <a:pt x="24" y="0"/>
                        <a:pt x="22" y="0"/>
                        <a:pt x="20" y="0"/>
                      </a:cubicBezTo>
                    </a:path>
                  </a:pathLst>
                </a:custGeom>
                <a:solidFill>
                  <a:srgbClr val="7674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8" name="Freeform 74"/>
                <p:cNvSpPr>
                  <a:spLocks/>
                </p:cNvSpPr>
                <p:nvPr/>
              </p:nvSpPr>
              <p:spPr bwMode="auto">
                <a:xfrm>
                  <a:off x="2386013" y="2525713"/>
                  <a:ext cx="84138" cy="63500"/>
                </a:xfrm>
                <a:custGeom>
                  <a:avLst/>
                  <a:gdLst>
                    <a:gd name="T0" fmla="*/ 0 w 17"/>
                    <a:gd name="T1" fmla="*/ 0 h 13"/>
                    <a:gd name="T2" fmla="*/ 0 w 17"/>
                    <a:gd name="T3" fmla="*/ 0 h 13"/>
                    <a:gd name="T4" fmla="*/ 13 w 17"/>
                    <a:gd name="T5" fmla="*/ 9 h 13"/>
                    <a:gd name="T6" fmla="*/ 17 w 17"/>
                    <a:gd name="T7" fmla="*/ 13 h 13"/>
                    <a:gd name="T8" fmla="*/ 15 w 17"/>
                    <a:gd name="T9" fmla="*/ 8 h 13"/>
                    <a:gd name="T10" fmla="*/ 0 w 17"/>
                    <a:gd name="T1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" h="1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2"/>
                        <a:pt x="9" y="5"/>
                        <a:pt x="13" y="9"/>
                      </a:cubicBezTo>
                      <a:cubicBezTo>
                        <a:pt x="14" y="10"/>
                        <a:pt x="16" y="11"/>
                        <a:pt x="17" y="13"/>
                      </a:cubicBezTo>
                      <a:cubicBezTo>
                        <a:pt x="16" y="11"/>
                        <a:pt x="16" y="10"/>
                        <a:pt x="15" y="8"/>
                      </a:cubicBezTo>
                      <a:cubicBezTo>
                        <a:pt x="12" y="4"/>
                        <a:pt x="7" y="1"/>
                        <a:pt x="0" y="0"/>
                      </a:cubicBezTo>
                    </a:path>
                  </a:pathLst>
                </a:custGeom>
                <a:solidFill>
                  <a:srgbClr val="74717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9" name="Freeform 75"/>
                <p:cNvSpPr>
                  <a:spLocks/>
                </p:cNvSpPr>
                <p:nvPr/>
              </p:nvSpPr>
              <p:spPr bwMode="auto">
                <a:xfrm>
                  <a:off x="2449513" y="2570163"/>
                  <a:ext cx="20638" cy="28575"/>
                </a:xfrm>
                <a:custGeom>
                  <a:avLst/>
                  <a:gdLst>
                    <a:gd name="T0" fmla="*/ 0 w 4"/>
                    <a:gd name="T1" fmla="*/ 0 h 6"/>
                    <a:gd name="T2" fmla="*/ 4 w 4"/>
                    <a:gd name="T3" fmla="*/ 6 h 6"/>
                    <a:gd name="T4" fmla="*/ 4 w 4"/>
                    <a:gd name="T5" fmla="*/ 4 h 6"/>
                    <a:gd name="T6" fmla="*/ 0 w 4"/>
                    <a:gd name="T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6">
                      <a:moveTo>
                        <a:pt x="0" y="0"/>
                      </a:moveTo>
                      <a:cubicBezTo>
                        <a:pt x="1" y="2"/>
                        <a:pt x="3" y="4"/>
                        <a:pt x="4" y="6"/>
                      </a:cubicBezTo>
                      <a:cubicBezTo>
                        <a:pt x="4" y="5"/>
                        <a:pt x="4" y="5"/>
                        <a:pt x="4" y="4"/>
                      </a:cubicBezTo>
                      <a:cubicBezTo>
                        <a:pt x="3" y="2"/>
                        <a:pt x="1" y="1"/>
                        <a:pt x="0" y="0"/>
                      </a:cubicBezTo>
                    </a:path>
                  </a:pathLst>
                </a:custGeom>
                <a:solidFill>
                  <a:srgbClr val="72707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0" name="Freeform 76"/>
                <p:cNvSpPr>
                  <a:spLocks noEditPoints="1"/>
                </p:cNvSpPr>
                <p:nvPr/>
              </p:nvSpPr>
              <p:spPr bwMode="auto">
                <a:xfrm>
                  <a:off x="2182813" y="2516188"/>
                  <a:ext cx="292100" cy="315913"/>
                </a:xfrm>
                <a:custGeom>
                  <a:avLst/>
                  <a:gdLst>
                    <a:gd name="T0" fmla="*/ 27 w 60"/>
                    <a:gd name="T1" fmla="*/ 64 h 65"/>
                    <a:gd name="T2" fmla="*/ 34 w 60"/>
                    <a:gd name="T3" fmla="*/ 65 h 65"/>
                    <a:gd name="T4" fmla="*/ 31 w 60"/>
                    <a:gd name="T5" fmla="*/ 64 h 65"/>
                    <a:gd name="T6" fmla="*/ 31 w 60"/>
                    <a:gd name="T7" fmla="*/ 64 h 65"/>
                    <a:gd name="T8" fmla="*/ 30 w 60"/>
                    <a:gd name="T9" fmla="*/ 64 h 65"/>
                    <a:gd name="T10" fmla="*/ 27 w 60"/>
                    <a:gd name="T11" fmla="*/ 64 h 65"/>
                    <a:gd name="T12" fmla="*/ 27 w 60"/>
                    <a:gd name="T13" fmla="*/ 64 h 65"/>
                    <a:gd name="T14" fmla="*/ 27 w 60"/>
                    <a:gd name="T15" fmla="*/ 64 h 65"/>
                    <a:gd name="T16" fmla="*/ 27 w 60"/>
                    <a:gd name="T17" fmla="*/ 64 h 65"/>
                    <a:gd name="T18" fmla="*/ 42 w 60"/>
                    <a:gd name="T19" fmla="*/ 2 h 65"/>
                    <a:gd name="T20" fmla="*/ 34 w 60"/>
                    <a:gd name="T21" fmla="*/ 65 h 65"/>
                    <a:gd name="T22" fmla="*/ 37 w 60"/>
                    <a:gd name="T23" fmla="*/ 65 h 65"/>
                    <a:gd name="T24" fmla="*/ 58 w 60"/>
                    <a:gd name="T25" fmla="*/ 35 h 65"/>
                    <a:gd name="T26" fmla="*/ 58 w 60"/>
                    <a:gd name="T27" fmla="*/ 35 h 65"/>
                    <a:gd name="T28" fmla="*/ 59 w 60"/>
                    <a:gd name="T29" fmla="*/ 17 h 65"/>
                    <a:gd name="T30" fmla="*/ 59 w 60"/>
                    <a:gd name="T31" fmla="*/ 17 h 65"/>
                    <a:gd name="T32" fmla="*/ 59 w 60"/>
                    <a:gd name="T33" fmla="*/ 17 h 65"/>
                    <a:gd name="T34" fmla="*/ 55 w 60"/>
                    <a:gd name="T35" fmla="*/ 11 h 65"/>
                    <a:gd name="T36" fmla="*/ 42 w 60"/>
                    <a:gd name="T37" fmla="*/ 2 h 65"/>
                    <a:gd name="T38" fmla="*/ 25 w 60"/>
                    <a:gd name="T39" fmla="*/ 0 h 65"/>
                    <a:gd name="T40" fmla="*/ 6 w 60"/>
                    <a:gd name="T41" fmla="*/ 8 h 65"/>
                    <a:gd name="T42" fmla="*/ 6 w 60"/>
                    <a:gd name="T43" fmla="*/ 8 h 65"/>
                    <a:gd name="T44" fmla="*/ 6 w 60"/>
                    <a:gd name="T45" fmla="*/ 8 h 65"/>
                    <a:gd name="T46" fmla="*/ 6 w 60"/>
                    <a:gd name="T47" fmla="*/ 8 h 65"/>
                    <a:gd name="T48" fmla="*/ 3 w 60"/>
                    <a:gd name="T49" fmla="*/ 19 h 65"/>
                    <a:gd name="T50" fmla="*/ 1 w 60"/>
                    <a:gd name="T51" fmla="*/ 28 h 65"/>
                    <a:gd name="T52" fmla="*/ 0 w 60"/>
                    <a:gd name="T53" fmla="*/ 40 h 65"/>
                    <a:gd name="T54" fmla="*/ 0 w 60"/>
                    <a:gd name="T55" fmla="*/ 40 h 65"/>
                    <a:gd name="T56" fmla="*/ 2 w 60"/>
                    <a:gd name="T57" fmla="*/ 50 h 65"/>
                    <a:gd name="T58" fmla="*/ 20 w 60"/>
                    <a:gd name="T59" fmla="*/ 62 h 65"/>
                    <a:gd name="T60" fmla="*/ 17 w 60"/>
                    <a:gd name="T61" fmla="*/ 61 h 65"/>
                    <a:gd name="T62" fmla="*/ 25 w 60"/>
                    <a:gd name="T63" fmla="*/ 0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0" h="65">
                      <a:moveTo>
                        <a:pt x="27" y="64"/>
                      </a:moveTo>
                      <a:cubicBezTo>
                        <a:pt x="30" y="64"/>
                        <a:pt x="32" y="64"/>
                        <a:pt x="34" y="65"/>
                      </a:cubicBezTo>
                      <a:cubicBezTo>
                        <a:pt x="33" y="65"/>
                        <a:pt x="32" y="64"/>
                        <a:pt x="31" y="64"/>
                      </a:cubicBezTo>
                      <a:cubicBezTo>
                        <a:pt x="31" y="64"/>
                        <a:pt x="31" y="64"/>
                        <a:pt x="31" y="64"/>
                      </a:cubicBezTo>
                      <a:cubicBezTo>
                        <a:pt x="31" y="64"/>
                        <a:pt x="31" y="64"/>
                        <a:pt x="30" y="64"/>
                      </a:cubicBezTo>
                      <a:cubicBezTo>
                        <a:pt x="29" y="64"/>
                        <a:pt x="28" y="64"/>
                        <a:pt x="27" y="64"/>
                      </a:cubicBezTo>
                      <a:moveTo>
                        <a:pt x="27" y="64"/>
                      </a:move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moveTo>
                        <a:pt x="42" y="2"/>
                      </a:moveTo>
                      <a:cubicBezTo>
                        <a:pt x="34" y="65"/>
                        <a:pt x="34" y="65"/>
                        <a:pt x="34" y="65"/>
                      </a:cubicBezTo>
                      <a:cubicBezTo>
                        <a:pt x="35" y="65"/>
                        <a:pt x="36" y="65"/>
                        <a:pt x="37" y="65"/>
                      </a:cubicBezTo>
                      <a:cubicBezTo>
                        <a:pt x="51" y="65"/>
                        <a:pt x="54" y="57"/>
                        <a:pt x="58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28"/>
                        <a:pt x="60" y="22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8" y="15"/>
                        <a:pt x="56" y="13"/>
                        <a:pt x="55" y="11"/>
                      </a:cubicBezTo>
                      <a:cubicBezTo>
                        <a:pt x="51" y="7"/>
                        <a:pt x="47" y="4"/>
                        <a:pt x="42" y="2"/>
                      </a:cubicBezTo>
                      <a:moveTo>
                        <a:pt x="25" y="0"/>
                      </a:moveTo>
                      <a:cubicBezTo>
                        <a:pt x="17" y="1"/>
                        <a:pt x="11" y="4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5" y="11"/>
                        <a:pt x="4" y="15"/>
                        <a:pt x="3" y="19"/>
                      </a:cubicBezTo>
                      <a:cubicBezTo>
                        <a:pt x="2" y="22"/>
                        <a:pt x="1" y="25"/>
                        <a:pt x="1" y="28"/>
                      </a:cubicBezTo>
                      <a:cubicBezTo>
                        <a:pt x="0" y="32"/>
                        <a:pt x="0" y="36"/>
                        <a:pt x="0" y="40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4"/>
                        <a:pt x="0" y="47"/>
                        <a:pt x="2" y="50"/>
                      </a:cubicBezTo>
                      <a:cubicBezTo>
                        <a:pt x="4" y="56"/>
                        <a:pt x="10" y="60"/>
                        <a:pt x="20" y="62"/>
                      </a:cubicBezTo>
                      <a:cubicBezTo>
                        <a:pt x="19" y="62"/>
                        <a:pt x="18" y="62"/>
                        <a:pt x="17" y="61"/>
                      </a:cubicBezTo>
                      <a:cubicBezTo>
                        <a:pt x="25" y="0"/>
                        <a:pt x="25" y="0"/>
                        <a:pt x="25" y="0"/>
                      </a:cubicBezTo>
                    </a:path>
                  </a:pathLst>
                </a:custGeom>
                <a:solidFill>
                  <a:srgbClr val="E8CD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1" name="Freeform 77"/>
                <p:cNvSpPr>
                  <a:spLocks/>
                </p:cNvSpPr>
                <p:nvPr/>
              </p:nvSpPr>
              <p:spPr bwMode="auto">
                <a:xfrm>
                  <a:off x="2157413" y="2555876"/>
                  <a:ext cx="322263" cy="287338"/>
                </a:xfrm>
                <a:custGeom>
                  <a:avLst/>
                  <a:gdLst>
                    <a:gd name="T0" fmla="*/ 11 w 66"/>
                    <a:gd name="T1" fmla="*/ 0 h 59"/>
                    <a:gd name="T2" fmla="*/ 8 w 66"/>
                    <a:gd name="T3" fmla="*/ 2 h 59"/>
                    <a:gd name="T4" fmla="*/ 4 w 66"/>
                    <a:gd name="T5" fmla="*/ 20 h 59"/>
                    <a:gd name="T6" fmla="*/ 30 w 66"/>
                    <a:gd name="T7" fmla="*/ 57 h 59"/>
                    <a:gd name="T8" fmla="*/ 42 w 66"/>
                    <a:gd name="T9" fmla="*/ 59 h 59"/>
                    <a:gd name="T10" fmla="*/ 43 w 66"/>
                    <a:gd name="T11" fmla="*/ 59 h 59"/>
                    <a:gd name="T12" fmla="*/ 65 w 66"/>
                    <a:gd name="T13" fmla="*/ 27 h 59"/>
                    <a:gd name="T14" fmla="*/ 66 w 66"/>
                    <a:gd name="T15" fmla="*/ 13 h 59"/>
                    <a:gd name="T16" fmla="*/ 64 w 66"/>
                    <a:gd name="T17" fmla="*/ 9 h 59"/>
                    <a:gd name="T18" fmla="*/ 65 w 66"/>
                    <a:gd name="T19" fmla="*/ 14 h 59"/>
                    <a:gd name="T20" fmla="*/ 65 w 66"/>
                    <a:gd name="T21" fmla="*/ 15 h 59"/>
                    <a:gd name="T22" fmla="*/ 63 w 66"/>
                    <a:gd name="T23" fmla="*/ 27 h 59"/>
                    <a:gd name="T24" fmla="*/ 63 w 66"/>
                    <a:gd name="T25" fmla="*/ 27 h 59"/>
                    <a:gd name="T26" fmla="*/ 42 w 66"/>
                    <a:gd name="T27" fmla="*/ 57 h 59"/>
                    <a:gd name="T28" fmla="*/ 42 w 66"/>
                    <a:gd name="T29" fmla="*/ 57 h 59"/>
                    <a:gd name="T30" fmla="*/ 42 w 66"/>
                    <a:gd name="T31" fmla="*/ 57 h 59"/>
                    <a:gd name="T32" fmla="*/ 39 w 66"/>
                    <a:gd name="T33" fmla="*/ 57 h 59"/>
                    <a:gd name="T34" fmla="*/ 39 w 66"/>
                    <a:gd name="T35" fmla="*/ 57 h 59"/>
                    <a:gd name="T36" fmla="*/ 39 w 66"/>
                    <a:gd name="T37" fmla="*/ 57 h 59"/>
                    <a:gd name="T38" fmla="*/ 32 w 66"/>
                    <a:gd name="T39" fmla="*/ 56 h 59"/>
                    <a:gd name="T40" fmla="*/ 32 w 66"/>
                    <a:gd name="T41" fmla="*/ 56 h 59"/>
                    <a:gd name="T42" fmla="*/ 30 w 66"/>
                    <a:gd name="T43" fmla="*/ 55 h 59"/>
                    <a:gd name="T44" fmla="*/ 29 w 66"/>
                    <a:gd name="T45" fmla="*/ 55 h 59"/>
                    <a:gd name="T46" fmla="*/ 26 w 66"/>
                    <a:gd name="T47" fmla="*/ 54 h 59"/>
                    <a:gd name="T48" fmla="*/ 26 w 66"/>
                    <a:gd name="T49" fmla="*/ 54 h 59"/>
                    <a:gd name="T50" fmla="*/ 26 w 66"/>
                    <a:gd name="T51" fmla="*/ 54 h 59"/>
                    <a:gd name="T52" fmla="*/ 7 w 66"/>
                    <a:gd name="T53" fmla="*/ 42 h 59"/>
                    <a:gd name="T54" fmla="*/ 6 w 66"/>
                    <a:gd name="T55" fmla="*/ 20 h 59"/>
                    <a:gd name="T56" fmla="*/ 8 w 66"/>
                    <a:gd name="T57" fmla="*/ 11 h 59"/>
                    <a:gd name="T58" fmla="*/ 11 w 66"/>
                    <a:gd name="T59" fmla="*/ 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6" h="59">
                      <a:moveTo>
                        <a:pt x="11" y="0"/>
                      </a:moveTo>
                      <a:cubicBezTo>
                        <a:pt x="10" y="1"/>
                        <a:pt x="9" y="1"/>
                        <a:pt x="8" y="2"/>
                      </a:cubicBezTo>
                      <a:cubicBezTo>
                        <a:pt x="7" y="7"/>
                        <a:pt x="6" y="13"/>
                        <a:pt x="4" y="20"/>
                      </a:cubicBezTo>
                      <a:cubicBezTo>
                        <a:pt x="0" y="43"/>
                        <a:pt x="5" y="53"/>
                        <a:pt x="30" y="57"/>
                      </a:cubicBezTo>
                      <a:cubicBezTo>
                        <a:pt x="35" y="58"/>
                        <a:pt x="39" y="59"/>
                        <a:pt x="42" y="59"/>
                      </a:cubicBezTo>
                      <a:cubicBezTo>
                        <a:pt x="43" y="59"/>
                        <a:pt x="43" y="59"/>
                        <a:pt x="43" y="59"/>
                      </a:cubicBezTo>
                      <a:cubicBezTo>
                        <a:pt x="57" y="58"/>
                        <a:pt x="61" y="50"/>
                        <a:pt x="65" y="27"/>
                      </a:cubicBezTo>
                      <a:cubicBezTo>
                        <a:pt x="66" y="22"/>
                        <a:pt x="66" y="17"/>
                        <a:pt x="66" y="13"/>
                      </a:cubicBezTo>
                      <a:cubicBezTo>
                        <a:pt x="66" y="12"/>
                        <a:pt x="65" y="11"/>
                        <a:pt x="64" y="9"/>
                      </a:cubicBezTo>
                      <a:cubicBezTo>
                        <a:pt x="64" y="11"/>
                        <a:pt x="65" y="13"/>
                        <a:pt x="65" y="14"/>
                      </a:cubicBezTo>
                      <a:cubicBezTo>
                        <a:pt x="65" y="15"/>
                        <a:pt x="65" y="15"/>
                        <a:pt x="65" y="15"/>
                      </a:cubicBezTo>
                      <a:cubicBezTo>
                        <a:pt x="65" y="18"/>
                        <a:pt x="64" y="22"/>
                        <a:pt x="63" y="2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59" y="49"/>
                        <a:pt x="56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1" y="57"/>
                        <a:pt x="40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7" y="56"/>
                        <a:pt x="35" y="56"/>
                        <a:pt x="32" y="56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1" y="56"/>
                        <a:pt x="31" y="55"/>
                        <a:pt x="30" y="55"/>
                      </a:cubicBezTo>
                      <a:cubicBezTo>
                        <a:pt x="30" y="55"/>
                        <a:pt x="30" y="55"/>
                        <a:pt x="29" y="55"/>
                      </a:cubicBezTo>
                      <a:cubicBezTo>
                        <a:pt x="28" y="55"/>
                        <a:pt x="27" y="55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15" y="52"/>
                        <a:pt x="9" y="48"/>
                        <a:pt x="7" y="42"/>
                      </a:cubicBezTo>
                      <a:cubicBezTo>
                        <a:pt x="4" y="37"/>
                        <a:pt x="4" y="29"/>
                        <a:pt x="6" y="20"/>
                      </a:cubicBezTo>
                      <a:cubicBezTo>
                        <a:pt x="6" y="17"/>
                        <a:pt x="7" y="14"/>
                        <a:pt x="8" y="11"/>
                      </a:cubicBezTo>
                      <a:cubicBezTo>
                        <a:pt x="9" y="7"/>
                        <a:pt x="10" y="3"/>
                        <a:pt x="11" y="0"/>
                      </a:cubicBezTo>
                    </a:path>
                  </a:pathLst>
                </a:custGeom>
                <a:solidFill>
                  <a:srgbClr val="B477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2" name="Freeform 78"/>
                <p:cNvSpPr>
                  <a:spLocks noEditPoints="1"/>
                </p:cNvSpPr>
                <p:nvPr/>
              </p:nvSpPr>
              <p:spPr bwMode="auto">
                <a:xfrm>
                  <a:off x="2192338" y="2555876"/>
                  <a:ext cx="282575" cy="276225"/>
                </a:xfrm>
                <a:custGeom>
                  <a:avLst/>
                  <a:gdLst>
                    <a:gd name="T0" fmla="*/ 32 w 58"/>
                    <a:gd name="T1" fmla="*/ 57 h 57"/>
                    <a:gd name="T2" fmla="*/ 32 w 58"/>
                    <a:gd name="T3" fmla="*/ 57 h 57"/>
                    <a:gd name="T4" fmla="*/ 35 w 58"/>
                    <a:gd name="T5" fmla="*/ 57 h 57"/>
                    <a:gd name="T6" fmla="*/ 35 w 58"/>
                    <a:gd name="T7" fmla="*/ 57 h 57"/>
                    <a:gd name="T8" fmla="*/ 32 w 58"/>
                    <a:gd name="T9" fmla="*/ 57 h 57"/>
                    <a:gd name="T10" fmla="*/ 25 w 58"/>
                    <a:gd name="T11" fmla="*/ 56 h 57"/>
                    <a:gd name="T12" fmla="*/ 32 w 58"/>
                    <a:gd name="T13" fmla="*/ 57 h 57"/>
                    <a:gd name="T14" fmla="*/ 32 w 58"/>
                    <a:gd name="T15" fmla="*/ 57 h 57"/>
                    <a:gd name="T16" fmla="*/ 25 w 58"/>
                    <a:gd name="T17" fmla="*/ 56 h 57"/>
                    <a:gd name="T18" fmla="*/ 25 w 58"/>
                    <a:gd name="T19" fmla="*/ 56 h 57"/>
                    <a:gd name="T20" fmla="*/ 25 w 58"/>
                    <a:gd name="T21" fmla="*/ 56 h 57"/>
                    <a:gd name="T22" fmla="*/ 25 w 58"/>
                    <a:gd name="T23" fmla="*/ 56 h 57"/>
                    <a:gd name="T24" fmla="*/ 25 w 58"/>
                    <a:gd name="T25" fmla="*/ 56 h 57"/>
                    <a:gd name="T26" fmla="*/ 25 w 58"/>
                    <a:gd name="T27" fmla="*/ 56 h 57"/>
                    <a:gd name="T28" fmla="*/ 25 w 58"/>
                    <a:gd name="T29" fmla="*/ 56 h 57"/>
                    <a:gd name="T30" fmla="*/ 19 w 58"/>
                    <a:gd name="T31" fmla="*/ 54 h 57"/>
                    <a:gd name="T32" fmla="*/ 19 w 58"/>
                    <a:gd name="T33" fmla="*/ 54 h 57"/>
                    <a:gd name="T34" fmla="*/ 19 w 58"/>
                    <a:gd name="T35" fmla="*/ 54 h 57"/>
                    <a:gd name="T36" fmla="*/ 0 w 58"/>
                    <a:gd name="T37" fmla="*/ 42 h 57"/>
                    <a:gd name="T38" fmla="*/ 19 w 58"/>
                    <a:gd name="T39" fmla="*/ 54 h 57"/>
                    <a:gd name="T40" fmla="*/ 18 w 58"/>
                    <a:gd name="T41" fmla="*/ 54 h 57"/>
                    <a:gd name="T42" fmla="*/ 0 w 58"/>
                    <a:gd name="T43" fmla="*/ 42 h 57"/>
                    <a:gd name="T44" fmla="*/ 57 w 58"/>
                    <a:gd name="T45" fmla="*/ 9 h 57"/>
                    <a:gd name="T46" fmla="*/ 56 w 58"/>
                    <a:gd name="T47" fmla="*/ 27 h 57"/>
                    <a:gd name="T48" fmla="*/ 56 w 58"/>
                    <a:gd name="T49" fmla="*/ 27 h 57"/>
                    <a:gd name="T50" fmla="*/ 56 w 58"/>
                    <a:gd name="T51" fmla="*/ 27 h 57"/>
                    <a:gd name="T52" fmla="*/ 58 w 58"/>
                    <a:gd name="T53" fmla="*/ 15 h 57"/>
                    <a:gd name="T54" fmla="*/ 58 w 58"/>
                    <a:gd name="T55" fmla="*/ 14 h 57"/>
                    <a:gd name="T56" fmla="*/ 57 w 58"/>
                    <a:gd name="T57" fmla="*/ 9 h 57"/>
                    <a:gd name="T58" fmla="*/ 57 w 58"/>
                    <a:gd name="T59" fmla="*/ 9 h 57"/>
                    <a:gd name="T60" fmla="*/ 4 w 58"/>
                    <a:gd name="T61" fmla="*/ 0 h 57"/>
                    <a:gd name="T62" fmla="*/ 4 w 58"/>
                    <a:gd name="T63" fmla="*/ 0 h 57"/>
                    <a:gd name="T64" fmla="*/ 4 w 58"/>
                    <a:gd name="T65" fmla="*/ 0 h 57"/>
                    <a:gd name="T66" fmla="*/ 1 w 58"/>
                    <a:gd name="T67" fmla="*/ 11 h 57"/>
                    <a:gd name="T68" fmla="*/ 4 w 58"/>
                    <a:gd name="T69" fmla="*/ 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8" h="57">
                      <a:moveTo>
                        <a:pt x="32" y="57"/>
                      </a:move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3" y="57"/>
                        <a:pt x="34" y="57"/>
                        <a:pt x="35" y="57"/>
                      </a:cubicBezTo>
                      <a:cubicBezTo>
                        <a:pt x="35" y="57"/>
                        <a:pt x="35" y="57"/>
                        <a:pt x="35" y="57"/>
                      </a:cubicBezTo>
                      <a:cubicBezTo>
                        <a:pt x="34" y="57"/>
                        <a:pt x="33" y="57"/>
                        <a:pt x="32" y="57"/>
                      </a:cubicBezTo>
                      <a:moveTo>
                        <a:pt x="25" y="56"/>
                      </a:moveTo>
                      <a:cubicBezTo>
                        <a:pt x="28" y="56"/>
                        <a:pt x="30" y="56"/>
                        <a:pt x="32" y="57"/>
                      </a:cubicBez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0" y="56"/>
                        <a:pt x="28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moveTo>
                        <a:pt x="19" y="54"/>
                      </a:moveTo>
                      <a:cubicBezTo>
                        <a:pt x="19" y="54"/>
                        <a:pt x="19" y="54"/>
                        <a:pt x="19" y="54"/>
                      </a:cubicBezTo>
                      <a:cubicBezTo>
                        <a:pt x="19" y="54"/>
                        <a:pt x="19" y="54"/>
                        <a:pt x="19" y="54"/>
                      </a:cubicBezTo>
                      <a:moveTo>
                        <a:pt x="0" y="42"/>
                      </a:moveTo>
                      <a:cubicBezTo>
                        <a:pt x="2" y="48"/>
                        <a:pt x="8" y="52"/>
                        <a:pt x="19" y="54"/>
                      </a:cubicBezTo>
                      <a:cubicBezTo>
                        <a:pt x="18" y="54"/>
                        <a:pt x="18" y="54"/>
                        <a:pt x="18" y="54"/>
                      </a:cubicBezTo>
                      <a:cubicBezTo>
                        <a:pt x="8" y="52"/>
                        <a:pt x="2" y="48"/>
                        <a:pt x="0" y="42"/>
                      </a:cubicBezTo>
                      <a:moveTo>
                        <a:pt x="57" y="9"/>
                      </a:moveTo>
                      <a:cubicBezTo>
                        <a:pt x="58" y="14"/>
                        <a:pt x="58" y="20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7" y="22"/>
                        <a:pt x="58" y="18"/>
                        <a:pt x="58" y="15"/>
                      </a:cubicBezTo>
                      <a:cubicBezTo>
                        <a:pt x="58" y="14"/>
                        <a:pt x="58" y="14"/>
                        <a:pt x="58" y="14"/>
                      </a:cubicBezTo>
                      <a:cubicBezTo>
                        <a:pt x="58" y="13"/>
                        <a:pt x="57" y="11"/>
                        <a:pt x="57" y="9"/>
                      </a:cubicBezTo>
                      <a:cubicBezTo>
                        <a:pt x="57" y="9"/>
                        <a:pt x="57" y="9"/>
                        <a:pt x="57" y="9"/>
                      </a:cubicBezTo>
                      <a:moveTo>
                        <a:pt x="4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"/>
                        <a:pt x="2" y="7"/>
                        <a:pt x="1" y="11"/>
                      </a:cubicBezTo>
                      <a:cubicBezTo>
                        <a:pt x="2" y="7"/>
                        <a:pt x="3" y="3"/>
                        <a:pt x="4" y="0"/>
                      </a:cubicBezTo>
                    </a:path>
                  </a:pathLst>
                </a:custGeom>
                <a:solidFill>
                  <a:srgbClr val="BD8B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3" name="Freeform 79"/>
                <p:cNvSpPr>
                  <a:spLocks/>
                </p:cNvSpPr>
                <p:nvPr/>
              </p:nvSpPr>
              <p:spPr bwMode="auto">
                <a:xfrm>
                  <a:off x="1870076" y="3154363"/>
                  <a:ext cx="536575" cy="730250"/>
                </a:xfrm>
                <a:custGeom>
                  <a:avLst/>
                  <a:gdLst>
                    <a:gd name="T0" fmla="*/ 45 w 110"/>
                    <a:gd name="T1" fmla="*/ 0 h 150"/>
                    <a:gd name="T2" fmla="*/ 39 w 110"/>
                    <a:gd name="T3" fmla="*/ 14 h 150"/>
                    <a:gd name="T4" fmla="*/ 10 w 110"/>
                    <a:gd name="T5" fmla="*/ 113 h 150"/>
                    <a:gd name="T6" fmla="*/ 0 w 110"/>
                    <a:gd name="T7" fmla="*/ 139 h 150"/>
                    <a:gd name="T8" fmla="*/ 0 w 110"/>
                    <a:gd name="T9" fmla="*/ 139 h 150"/>
                    <a:gd name="T10" fmla="*/ 8 w 110"/>
                    <a:gd name="T11" fmla="*/ 150 h 150"/>
                    <a:gd name="T12" fmla="*/ 20 w 110"/>
                    <a:gd name="T13" fmla="*/ 144 h 150"/>
                    <a:gd name="T14" fmla="*/ 55 w 110"/>
                    <a:gd name="T15" fmla="*/ 108 h 150"/>
                    <a:gd name="T16" fmla="*/ 69 w 110"/>
                    <a:gd name="T17" fmla="*/ 111 h 150"/>
                    <a:gd name="T18" fmla="*/ 94 w 110"/>
                    <a:gd name="T19" fmla="*/ 118 h 150"/>
                    <a:gd name="T20" fmla="*/ 101 w 110"/>
                    <a:gd name="T21" fmla="*/ 101 h 150"/>
                    <a:gd name="T22" fmla="*/ 108 w 110"/>
                    <a:gd name="T23" fmla="*/ 17 h 150"/>
                    <a:gd name="T24" fmla="*/ 110 w 110"/>
                    <a:gd name="T25" fmla="*/ 11 h 150"/>
                    <a:gd name="T26" fmla="*/ 110 w 110"/>
                    <a:gd name="T27" fmla="*/ 11 h 150"/>
                    <a:gd name="T28" fmla="*/ 106 w 110"/>
                    <a:gd name="T29" fmla="*/ 8 h 150"/>
                    <a:gd name="T30" fmla="*/ 74 w 110"/>
                    <a:gd name="T31" fmla="*/ 12 h 150"/>
                    <a:gd name="T32" fmla="*/ 45 w 110"/>
                    <a:gd name="T33" fmla="*/ 0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0" h="150">
                      <a:moveTo>
                        <a:pt x="45" y="0"/>
                      </a:moveTo>
                      <a:cubicBezTo>
                        <a:pt x="42" y="0"/>
                        <a:pt x="40" y="3"/>
                        <a:pt x="39" y="14"/>
                      </a:cubicBezTo>
                      <a:cubicBezTo>
                        <a:pt x="36" y="45"/>
                        <a:pt x="30" y="79"/>
                        <a:pt x="10" y="113"/>
                      </a:cubicBezTo>
                      <a:cubicBezTo>
                        <a:pt x="3" y="124"/>
                        <a:pt x="0" y="133"/>
                        <a:pt x="0" y="139"/>
                      </a:cubicBezTo>
                      <a:cubicBezTo>
                        <a:pt x="0" y="139"/>
                        <a:pt x="0" y="139"/>
                        <a:pt x="0" y="139"/>
                      </a:cubicBezTo>
                      <a:cubicBezTo>
                        <a:pt x="0" y="146"/>
                        <a:pt x="3" y="150"/>
                        <a:pt x="8" y="150"/>
                      </a:cubicBezTo>
                      <a:cubicBezTo>
                        <a:pt x="11" y="150"/>
                        <a:pt x="16" y="148"/>
                        <a:pt x="20" y="144"/>
                      </a:cubicBezTo>
                      <a:cubicBezTo>
                        <a:pt x="32" y="131"/>
                        <a:pt x="35" y="108"/>
                        <a:pt x="55" y="108"/>
                      </a:cubicBezTo>
                      <a:cubicBezTo>
                        <a:pt x="58" y="108"/>
                        <a:pt x="63" y="109"/>
                        <a:pt x="69" y="111"/>
                      </a:cubicBezTo>
                      <a:cubicBezTo>
                        <a:pt x="81" y="116"/>
                        <a:pt x="89" y="118"/>
                        <a:pt x="94" y="118"/>
                      </a:cubicBezTo>
                      <a:cubicBezTo>
                        <a:pt x="103" y="118"/>
                        <a:pt x="104" y="112"/>
                        <a:pt x="101" y="101"/>
                      </a:cubicBezTo>
                      <a:cubicBezTo>
                        <a:pt x="97" y="83"/>
                        <a:pt x="100" y="35"/>
                        <a:pt x="108" y="17"/>
                      </a:cubicBezTo>
                      <a:cubicBezTo>
                        <a:pt x="110" y="14"/>
                        <a:pt x="110" y="13"/>
                        <a:pt x="110" y="11"/>
                      </a:cubicBezTo>
                      <a:cubicBezTo>
                        <a:pt x="110" y="11"/>
                        <a:pt x="110" y="11"/>
                        <a:pt x="110" y="11"/>
                      </a:cubicBezTo>
                      <a:cubicBezTo>
                        <a:pt x="110" y="9"/>
                        <a:pt x="109" y="8"/>
                        <a:pt x="106" y="8"/>
                      </a:cubicBezTo>
                      <a:cubicBezTo>
                        <a:pt x="99" y="8"/>
                        <a:pt x="87" y="12"/>
                        <a:pt x="74" y="12"/>
                      </a:cubicBezTo>
                      <a:cubicBezTo>
                        <a:pt x="61" y="12"/>
                        <a:pt x="51" y="0"/>
                        <a:pt x="45" y="0"/>
                      </a:cubicBezTo>
                    </a:path>
                  </a:pathLst>
                </a:custGeom>
                <a:solidFill>
                  <a:srgbClr val="DBAB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4" name="Freeform 80"/>
                <p:cNvSpPr>
                  <a:spLocks/>
                </p:cNvSpPr>
                <p:nvPr/>
              </p:nvSpPr>
              <p:spPr bwMode="auto">
                <a:xfrm>
                  <a:off x="1874838" y="4546601"/>
                  <a:ext cx="584200" cy="1465263"/>
                </a:xfrm>
                <a:custGeom>
                  <a:avLst/>
                  <a:gdLst>
                    <a:gd name="T0" fmla="*/ 120 w 120"/>
                    <a:gd name="T1" fmla="*/ 0 h 301"/>
                    <a:gd name="T2" fmla="*/ 120 w 120"/>
                    <a:gd name="T3" fmla="*/ 0 h 301"/>
                    <a:gd name="T4" fmla="*/ 69 w 120"/>
                    <a:gd name="T5" fmla="*/ 86 h 301"/>
                    <a:gd name="T6" fmla="*/ 1 w 120"/>
                    <a:gd name="T7" fmla="*/ 275 h 301"/>
                    <a:gd name="T8" fmla="*/ 0 w 120"/>
                    <a:gd name="T9" fmla="*/ 301 h 301"/>
                    <a:gd name="T10" fmla="*/ 31 w 120"/>
                    <a:gd name="T11" fmla="*/ 301 h 301"/>
                    <a:gd name="T12" fmla="*/ 62 w 120"/>
                    <a:gd name="T13" fmla="*/ 169 h 301"/>
                    <a:gd name="T14" fmla="*/ 119 w 120"/>
                    <a:gd name="T15" fmla="*/ 3 h 301"/>
                    <a:gd name="T16" fmla="*/ 120 w 120"/>
                    <a:gd name="T17" fmla="*/ 1 h 301"/>
                    <a:gd name="T18" fmla="*/ 120 w 120"/>
                    <a:gd name="T19" fmla="*/ 0 h 301"/>
                    <a:gd name="T20" fmla="*/ 120 w 120"/>
                    <a:gd name="T21" fmla="*/ 0 h 3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0" h="301">
                      <a:moveTo>
                        <a:pt x="120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18" y="1"/>
                        <a:pt x="92" y="51"/>
                        <a:pt x="69" y="86"/>
                      </a:cubicBezTo>
                      <a:cubicBezTo>
                        <a:pt x="43" y="126"/>
                        <a:pt x="9" y="188"/>
                        <a:pt x="1" y="275"/>
                      </a:cubicBezTo>
                      <a:cubicBezTo>
                        <a:pt x="1" y="283"/>
                        <a:pt x="0" y="292"/>
                        <a:pt x="0" y="301"/>
                      </a:cubicBezTo>
                      <a:cubicBezTo>
                        <a:pt x="31" y="301"/>
                        <a:pt x="31" y="301"/>
                        <a:pt x="31" y="301"/>
                      </a:cubicBezTo>
                      <a:cubicBezTo>
                        <a:pt x="38" y="229"/>
                        <a:pt x="52" y="204"/>
                        <a:pt x="62" y="169"/>
                      </a:cubicBezTo>
                      <a:cubicBezTo>
                        <a:pt x="73" y="124"/>
                        <a:pt x="116" y="30"/>
                        <a:pt x="119" y="3"/>
                      </a:cubicBezTo>
                      <a:cubicBezTo>
                        <a:pt x="120" y="2"/>
                        <a:pt x="120" y="1"/>
                        <a:pt x="120" y="1"/>
                      </a:cubicBez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0"/>
                        <a:pt x="120" y="0"/>
                        <a:pt x="120" y="0"/>
                      </a:cubicBezTo>
                    </a:path>
                  </a:pathLst>
                </a:custGeom>
                <a:solidFill>
                  <a:srgbClr val="E0B2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5" name="Freeform 8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1 w 3"/>
                    <a:gd name="T3" fmla="*/ 0 h 1"/>
                    <a:gd name="T4" fmla="*/ 3 w 3"/>
                    <a:gd name="T5" fmla="*/ 1 h 1"/>
                    <a:gd name="T6" fmla="*/ 1 w 3"/>
                    <a:gd name="T7" fmla="*/ 0 h 1"/>
                    <a:gd name="T8" fmla="*/ 1 w 3"/>
                    <a:gd name="T9" fmla="*/ 0 h 1"/>
                    <a:gd name="T10" fmla="*/ 1 w 3"/>
                    <a:gd name="T11" fmla="*/ 0 h 1"/>
                    <a:gd name="T12" fmla="*/ 1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6" name="Freeform 82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3 w 3"/>
                    <a:gd name="T3" fmla="*/ 3 w 3"/>
                    <a:gd name="T4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7" name="Freeform 83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9525" cy="0"/>
                </a:xfrm>
                <a:custGeom>
                  <a:avLst/>
                  <a:gdLst>
                    <a:gd name="T0" fmla="*/ 1 w 2"/>
                    <a:gd name="T1" fmla="*/ 2 w 2"/>
                    <a:gd name="T2" fmla="*/ 2 w 2"/>
                    <a:gd name="T3" fmla="*/ 1 w 2"/>
                    <a:gd name="T4" fmla="*/ 0 w 2"/>
                    <a:gd name="T5" fmla="*/ 1 w 2"/>
                    <a:gd name="T6" fmla="*/ 0 w 2"/>
                    <a:gd name="T7" fmla="*/ 0 w 2"/>
                    <a:gd name="T8" fmla="*/ 0 w 2"/>
                    <a:gd name="T9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2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8" name="Freeform 84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  <a:gd name="T3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9" name="Freeform 8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0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0" name="Freeform 8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0 w 3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1" name="Freeform 87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2" name="Freeform 8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3" name="Freeform 89"/>
                <p:cNvSpPr>
                  <a:spLocks/>
                </p:cNvSpPr>
                <p:nvPr/>
              </p:nvSpPr>
              <p:spPr bwMode="auto">
                <a:xfrm>
                  <a:off x="2303463" y="2822576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2 w 2"/>
                    <a:gd name="T5" fmla="*/ 1 h 1"/>
                    <a:gd name="T6" fmla="*/ 1 w 2"/>
                    <a:gd name="T7" fmla="*/ 0 h 1"/>
                    <a:gd name="T8" fmla="*/ 0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4" name="Freeform 90"/>
                <p:cNvSpPr>
                  <a:spLocks noEditPoints="1"/>
                </p:cNvSpPr>
                <p:nvPr/>
              </p:nvSpPr>
              <p:spPr bwMode="auto">
                <a:xfrm>
                  <a:off x="2303463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  <a:gd name="T4" fmla="*/ 0 w 1"/>
                    <a:gd name="T5" fmla="*/ 0 w 1"/>
                    <a:gd name="T6" fmla="*/ 0 w 1"/>
                    <a:gd name="T7" fmla="*/ 0 w 1"/>
                    <a:gd name="T8" fmla="*/ 0 w 1"/>
                    <a:gd name="T9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5" name="Freeform 91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6" name="Freeform 92"/>
                <p:cNvSpPr>
                  <a:spLocks/>
                </p:cNvSpPr>
                <p:nvPr/>
              </p:nvSpPr>
              <p:spPr bwMode="auto">
                <a:xfrm>
                  <a:off x="2328863" y="2827338"/>
                  <a:ext cx="4763" cy="0"/>
                </a:xfrm>
                <a:custGeom>
                  <a:avLst/>
                  <a:gdLst>
                    <a:gd name="T0" fmla="*/ 0 w 1"/>
                    <a:gd name="T1" fmla="*/ 1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7" name="Freeform 93"/>
                <p:cNvSpPr>
                  <a:spLocks noEditPoints="1"/>
                </p:cNvSpPr>
                <p:nvPr/>
              </p:nvSpPr>
              <p:spPr bwMode="auto">
                <a:xfrm>
                  <a:off x="2338388" y="2497138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  <a:gd name="T5" fmla="*/ 0 h 1"/>
                    <a:gd name="T6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8" name="Freeform 94"/>
                <p:cNvSpPr>
                  <a:spLocks/>
                </p:cNvSpPr>
                <p:nvPr/>
              </p:nvSpPr>
              <p:spPr bwMode="auto">
                <a:xfrm>
                  <a:off x="2303463" y="2497138"/>
                  <a:ext cx="34925" cy="19050"/>
                </a:xfrm>
                <a:custGeom>
                  <a:avLst/>
                  <a:gdLst>
                    <a:gd name="T0" fmla="*/ 1 w 7"/>
                    <a:gd name="T1" fmla="*/ 0 h 4"/>
                    <a:gd name="T2" fmla="*/ 0 w 7"/>
                    <a:gd name="T3" fmla="*/ 0 h 4"/>
                    <a:gd name="T4" fmla="*/ 0 w 7"/>
                    <a:gd name="T5" fmla="*/ 4 h 4"/>
                    <a:gd name="T6" fmla="*/ 3 w 7"/>
                    <a:gd name="T7" fmla="*/ 4 h 4"/>
                    <a:gd name="T8" fmla="*/ 3 w 7"/>
                    <a:gd name="T9" fmla="*/ 0 h 4"/>
                    <a:gd name="T10" fmla="*/ 6 w 7"/>
                    <a:gd name="T11" fmla="*/ 0 h 4"/>
                    <a:gd name="T12" fmla="*/ 6 w 7"/>
                    <a:gd name="T13" fmla="*/ 0 h 4"/>
                    <a:gd name="T14" fmla="*/ 7 w 7"/>
                    <a:gd name="T15" fmla="*/ 0 h 4"/>
                    <a:gd name="T16" fmla="*/ 7 w 7"/>
                    <a:gd name="T17" fmla="*/ 0 h 4"/>
                    <a:gd name="T18" fmla="*/ 7 w 7"/>
                    <a:gd name="T19" fmla="*/ 0 h 4"/>
                    <a:gd name="T20" fmla="*/ 7 w 7"/>
                    <a:gd name="T21" fmla="*/ 0 h 4"/>
                    <a:gd name="T22" fmla="*/ 7 w 7"/>
                    <a:gd name="T23" fmla="*/ 0 h 4"/>
                    <a:gd name="T24" fmla="*/ 1 w 7"/>
                    <a:gd name="T2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" h="4">
                      <a:moveTo>
                        <a:pt x="1" y="0"/>
                      </a:moveTo>
                      <a:cubicBezTo>
                        <a:pt x="1" y="0"/>
                        <a:pt x="1" y="0"/>
                        <a:pt x="0" y="0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1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4" y="0"/>
                        <a:pt x="5" y="0"/>
                        <a:pt x="6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5" y="0"/>
                        <a:pt x="3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9" name="Freeform 95"/>
                <p:cNvSpPr>
                  <a:spLocks/>
                </p:cNvSpPr>
                <p:nvPr/>
              </p:nvSpPr>
              <p:spPr bwMode="auto">
                <a:xfrm>
                  <a:off x="2265363" y="2516188"/>
                  <a:ext cx="52388" cy="306388"/>
                </a:xfrm>
                <a:custGeom>
                  <a:avLst/>
                  <a:gdLst>
                    <a:gd name="T0" fmla="*/ 11 w 11"/>
                    <a:gd name="T1" fmla="*/ 0 h 63"/>
                    <a:gd name="T2" fmla="*/ 8 w 11"/>
                    <a:gd name="T3" fmla="*/ 0 h 63"/>
                    <a:gd name="T4" fmla="*/ 0 w 11"/>
                    <a:gd name="T5" fmla="*/ 61 h 63"/>
                    <a:gd name="T6" fmla="*/ 3 w 11"/>
                    <a:gd name="T7" fmla="*/ 62 h 63"/>
                    <a:gd name="T8" fmla="*/ 6 w 11"/>
                    <a:gd name="T9" fmla="*/ 63 h 63"/>
                    <a:gd name="T10" fmla="*/ 3 w 11"/>
                    <a:gd name="T11" fmla="*/ 62 h 63"/>
                    <a:gd name="T12" fmla="*/ 11 w 11"/>
                    <a:gd name="T13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3">
                      <a:moveTo>
                        <a:pt x="11" y="0"/>
                      </a:moveTo>
                      <a:cubicBezTo>
                        <a:pt x="10" y="0"/>
                        <a:pt x="9" y="0"/>
                        <a:pt x="8" y="0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1" y="62"/>
                        <a:pt x="2" y="62"/>
                        <a:pt x="3" y="62"/>
                      </a:cubicBezTo>
                      <a:cubicBezTo>
                        <a:pt x="4" y="62"/>
                        <a:pt x="5" y="63"/>
                        <a:pt x="6" y="63"/>
                      </a:cubicBezTo>
                      <a:cubicBezTo>
                        <a:pt x="5" y="63"/>
                        <a:pt x="4" y="62"/>
                        <a:pt x="3" y="62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0" name="Freeform 96"/>
                <p:cNvSpPr>
                  <a:spLocks noEditPoints="1"/>
                </p:cNvSpPr>
                <p:nvPr/>
              </p:nvSpPr>
              <p:spPr bwMode="auto">
                <a:xfrm>
                  <a:off x="2284413" y="2817813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1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1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1" name="Freeform 97"/>
                <p:cNvSpPr>
                  <a:spLocks/>
                </p:cNvSpPr>
                <p:nvPr/>
              </p:nvSpPr>
              <p:spPr bwMode="auto">
                <a:xfrm>
                  <a:off x="2279651" y="2817813"/>
                  <a:ext cx="19050" cy="4763"/>
                </a:xfrm>
                <a:custGeom>
                  <a:avLst/>
                  <a:gdLst>
                    <a:gd name="T0" fmla="*/ 0 w 4"/>
                    <a:gd name="T1" fmla="*/ 0 h 1"/>
                    <a:gd name="T2" fmla="*/ 1 w 4"/>
                    <a:gd name="T3" fmla="*/ 0 h 1"/>
                    <a:gd name="T4" fmla="*/ 1 w 4"/>
                    <a:gd name="T5" fmla="*/ 0 h 1"/>
                    <a:gd name="T6" fmla="*/ 1 w 4"/>
                    <a:gd name="T7" fmla="*/ 0 h 1"/>
                    <a:gd name="T8" fmla="*/ 4 w 4"/>
                    <a:gd name="T9" fmla="*/ 1 h 1"/>
                    <a:gd name="T10" fmla="*/ 3 w 4"/>
                    <a:gd name="T11" fmla="*/ 1 h 1"/>
                    <a:gd name="T12" fmla="*/ 0 w 4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1"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1"/>
                        <a:pt x="3" y="1"/>
                        <a:pt x="4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2" name="Freeform 98"/>
                <p:cNvSpPr>
                  <a:spLocks/>
                </p:cNvSpPr>
                <p:nvPr/>
              </p:nvSpPr>
              <p:spPr bwMode="auto">
                <a:xfrm>
                  <a:off x="2371726" y="2506663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1 w 4"/>
                    <a:gd name="T3" fmla="*/ 0 h 4"/>
                    <a:gd name="T4" fmla="*/ 0 w 4"/>
                    <a:gd name="T5" fmla="*/ 3 h 4"/>
                    <a:gd name="T6" fmla="*/ 2 w 4"/>
                    <a:gd name="T7" fmla="*/ 3 h 4"/>
                    <a:gd name="T8" fmla="*/ 3 w 4"/>
                    <a:gd name="T9" fmla="*/ 4 h 4"/>
                    <a:gd name="T10" fmla="*/ 4 w 4"/>
                    <a:gd name="T11" fmla="*/ 1 h 4"/>
                    <a:gd name="T12" fmla="*/ 1 w 4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2" y="3"/>
                        <a:pt x="2" y="3"/>
                      </a:cubicBezTo>
                      <a:cubicBezTo>
                        <a:pt x="3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2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3" name="Freeform 99"/>
                <p:cNvSpPr>
                  <a:spLocks/>
                </p:cNvSpPr>
                <p:nvPr/>
              </p:nvSpPr>
              <p:spPr bwMode="auto">
                <a:xfrm>
                  <a:off x="2381251" y="2520951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1 w 1"/>
                    <a:gd name="T5" fmla="*/ 1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4919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4" name="Freeform 100"/>
                <p:cNvSpPr>
                  <a:spLocks/>
                </p:cNvSpPr>
                <p:nvPr/>
              </p:nvSpPr>
              <p:spPr bwMode="auto">
                <a:xfrm>
                  <a:off x="2333626" y="2520951"/>
                  <a:ext cx="52388" cy="311150"/>
                </a:xfrm>
                <a:custGeom>
                  <a:avLst/>
                  <a:gdLst>
                    <a:gd name="T0" fmla="*/ 8 w 11"/>
                    <a:gd name="T1" fmla="*/ 0 h 64"/>
                    <a:gd name="T2" fmla="*/ 0 w 11"/>
                    <a:gd name="T3" fmla="*/ 63 h 64"/>
                    <a:gd name="T4" fmla="*/ 3 w 11"/>
                    <a:gd name="T5" fmla="*/ 64 h 64"/>
                    <a:gd name="T6" fmla="*/ 3 w 11"/>
                    <a:gd name="T7" fmla="*/ 64 h 64"/>
                    <a:gd name="T8" fmla="*/ 11 w 11"/>
                    <a:gd name="T9" fmla="*/ 1 h 64"/>
                    <a:gd name="T10" fmla="*/ 10 w 11"/>
                    <a:gd name="T11" fmla="*/ 0 h 64"/>
                    <a:gd name="T12" fmla="*/ 8 w 11"/>
                    <a:gd name="T13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1" y="63"/>
                        <a:pt x="2" y="64"/>
                        <a:pt x="3" y="64"/>
                      </a:cubicBezTo>
                      <a:cubicBezTo>
                        <a:pt x="3" y="64"/>
                        <a:pt x="3" y="64"/>
                        <a:pt x="3" y="64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1" y="1"/>
                        <a:pt x="11" y="1"/>
                        <a:pt x="10" y="0"/>
                      </a:cubicBezTo>
                      <a:cubicBezTo>
                        <a:pt x="10" y="0"/>
                        <a:pt x="9" y="0"/>
                        <a:pt x="8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5" name="Freeform 101"/>
                <p:cNvSpPr>
                  <a:spLocks/>
                </p:cNvSpPr>
                <p:nvPr/>
              </p:nvSpPr>
              <p:spPr bwMode="auto">
                <a:xfrm>
                  <a:off x="2347913" y="28321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6" name="Oval 102"/>
                <p:cNvSpPr>
                  <a:spLocks noChangeArrowheads="1"/>
                </p:cNvSpPr>
                <p:nvPr/>
              </p:nvSpPr>
              <p:spPr bwMode="auto">
                <a:xfrm>
                  <a:off x="2347913" y="2832101"/>
                  <a:ext cx="1588" cy="1588"/>
                </a:xfrm>
                <a:prstGeom prst="ellipse">
                  <a:avLst/>
                </a:pr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7" name="Freeform 103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8" name="Freeform 104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9" name="Freeform 105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23813" cy="0"/>
                </a:xfrm>
                <a:custGeom>
                  <a:avLst/>
                  <a:gdLst>
                    <a:gd name="T0" fmla="*/ 5 w 5"/>
                    <a:gd name="T1" fmla="*/ 5 w 5"/>
                    <a:gd name="T2" fmla="*/ 5 w 5"/>
                    <a:gd name="T3" fmla="*/ 5 w 5"/>
                    <a:gd name="T4" fmla="*/ 5 w 5"/>
                    <a:gd name="T5" fmla="*/ 5 w 5"/>
                    <a:gd name="T6" fmla="*/ 1 w 5"/>
                    <a:gd name="T7" fmla="*/ 1 w 5"/>
                    <a:gd name="T8" fmla="*/ 1 w 5"/>
                    <a:gd name="T9" fmla="*/ 0 w 5"/>
                    <a:gd name="T10" fmla="*/ 0 w 5"/>
                    <a:gd name="T11" fmla="*/ 0 w 5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  <a:cxn ang="0">
                      <a:pos x="T10" y="0"/>
                    </a:cxn>
                    <a:cxn ang="0">
                      <a:pos x="T11" y="0"/>
                    </a:cxn>
                  </a:cxnLst>
                  <a:rect l="0" t="0" r="r" b="b"/>
                  <a:pathLst>
                    <a:path w="5">
                      <a:moveTo>
                        <a:pt x="5" y="0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0" name="Freeform 10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1" name="Freeform 107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15875" cy="0"/>
                </a:xfrm>
                <a:custGeom>
                  <a:avLst/>
                  <a:gdLst>
                    <a:gd name="T0" fmla="*/ 0 w 3"/>
                    <a:gd name="T1" fmla="*/ 0 w 3"/>
                    <a:gd name="T2" fmla="*/ 0 w 3"/>
                    <a:gd name="T3" fmla="*/ 0 w 3"/>
                    <a:gd name="T4" fmla="*/ 3 w 3"/>
                    <a:gd name="T5" fmla="*/ 0 w 3"/>
                    <a:gd name="T6" fmla="*/ 0 w 3"/>
                    <a:gd name="T7" fmla="*/ 0 w 3"/>
                    <a:gd name="T8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2" name="Freeform 10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3" name="Freeform 109"/>
                <p:cNvSpPr>
                  <a:spLocks/>
                </p:cNvSpPr>
                <p:nvPr/>
              </p:nvSpPr>
              <p:spPr bwMode="auto">
                <a:xfrm>
                  <a:off x="2317751" y="2497138"/>
                  <a:ext cx="15875" cy="19050"/>
                </a:xfrm>
                <a:custGeom>
                  <a:avLst/>
                  <a:gdLst>
                    <a:gd name="T0" fmla="*/ 0 w 3"/>
                    <a:gd name="T1" fmla="*/ 0 h 4"/>
                    <a:gd name="T2" fmla="*/ 0 w 3"/>
                    <a:gd name="T3" fmla="*/ 4 h 4"/>
                    <a:gd name="T4" fmla="*/ 1 w 3"/>
                    <a:gd name="T5" fmla="*/ 4 h 4"/>
                    <a:gd name="T6" fmla="*/ 3 w 3"/>
                    <a:gd name="T7" fmla="*/ 4 h 4"/>
                    <a:gd name="T8" fmla="*/ 3 w 3"/>
                    <a:gd name="T9" fmla="*/ 0 h 4"/>
                    <a:gd name="T10" fmla="*/ 0 w 3"/>
                    <a:gd name="T11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4"/>
                        <a:pt x="1" y="4"/>
                        <a:pt x="1" y="4"/>
                      </a:cubicBezTo>
                      <a:cubicBezTo>
                        <a:pt x="2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4" name="Freeform 110"/>
                <p:cNvSpPr>
                  <a:spLocks/>
                </p:cNvSpPr>
                <p:nvPr/>
              </p:nvSpPr>
              <p:spPr bwMode="auto">
                <a:xfrm>
                  <a:off x="2279651" y="2516188"/>
                  <a:ext cx="53975" cy="306388"/>
                </a:xfrm>
                <a:custGeom>
                  <a:avLst/>
                  <a:gdLst>
                    <a:gd name="T0" fmla="*/ 9 w 11"/>
                    <a:gd name="T1" fmla="*/ 0 h 63"/>
                    <a:gd name="T2" fmla="*/ 8 w 11"/>
                    <a:gd name="T3" fmla="*/ 0 h 63"/>
                    <a:gd name="T4" fmla="*/ 0 w 11"/>
                    <a:gd name="T5" fmla="*/ 62 h 63"/>
                    <a:gd name="T6" fmla="*/ 3 w 11"/>
                    <a:gd name="T7" fmla="*/ 63 h 63"/>
                    <a:gd name="T8" fmla="*/ 4 w 11"/>
                    <a:gd name="T9" fmla="*/ 63 h 63"/>
                    <a:gd name="T10" fmla="*/ 3 w 11"/>
                    <a:gd name="T11" fmla="*/ 63 h 63"/>
                    <a:gd name="T12" fmla="*/ 3 w 11"/>
                    <a:gd name="T13" fmla="*/ 63 h 63"/>
                    <a:gd name="T14" fmla="*/ 11 w 11"/>
                    <a:gd name="T15" fmla="*/ 0 h 63"/>
                    <a:gd name="T16" fmla="*/ 9 w 11"/>
                    <a:gd name="T17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63">
                      <a:moveTo>
                        <a:pt x="9" y="0"/>
                      </a:moveTo>
                      <a:cubicBezTo>
                        <a:pt x="9" y="0"/>
                        <a:pt x="8" y="0"/>
                        <a:pt x="8" y="0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1" y="62"/>
                        <a:pt x="2" y="63"/>
                        <a:pt x="3" y="63"/>
                      </a:cubicBezTo>
                      <a:cubicBezTo>
                        <a:pt x="3" y="63"/>
                        <a:pt x="3" y="63"/>
                        <a:pt x="4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5" name="Freeform 11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6" name="Oval 112"/>
                <p:cNvSpPr>
                  <a:spLocks noChangeArrowheads="1"/>
                </p:cNvSpPr>
                <p:nvPr/>
              </p:nvSpPr>
              <p:spPr bwMode="auto">
                <a:xfrm>
                  <a:off x="2293938" y="2822576"/>
                  <a:ext cx="4763" cy="1588"/>
                </a:xfrm>
                <a:prstGeom prst="ellipse">
                  <a:avLst/>
                </a:pr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7" name="Freeform 113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1 w 2"/>
                    <a:gd name="T3" fmla="*/ 1 h 1"/>
                    <a:gd name="T4" fmla="*/ 2 w 2"/>
                    <a:gd name="T5" fmla="*/ 1 h 1"/>
                    <a:gd name="T6" fmla="*/ 1 w 2"/>
                    <a:gd name="T7" fmla="*/ 1 h 1"/>
                    <a:gd name="T8" fmla="*/ 1 w 2"/>
                    <a:gd name="T9" fmla="*/ 1 h 1"/>
                    <a:gd name="T10" fmla="*/ 0 w 2"/>
                    <a:gd name="T11" fmla="*/ 1 h 1"/>
                    <a:gd name="T12" fmla="*/ 0 w 2"/>
                    <a:gd name="T13" fmla="*/ 1 h 1"/>
                    <a:gd name="T14" fmla="*/ 0 w 2"/>
                    <a:gd name="T15" fmla="*/ 1 h 1"/>
                    <a:gd name="T16" fmla="*/ 0 w 2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2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8" name="Freeform 114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0 w 1"/>
                    <a:gd name="T5" fmla="*/ 0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" y="1"/>
                        <a:pt x="0" y="1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9" name="Freeform 11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0" name="Freeform 116"/>
                <p:cNvSpPr>
                  <a:spLocks/>
                </p:cNvSpPr>
                <p:nvPr/>
              </p:nvSpPr>
              <p:spPr bwMode="auto">
                <a:xfrm>
                  <a:off x="2357438" y="2501901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0 w 4"/>
                    <a:gd name="T3" fmla="*/ 3 h 4"/>
                    <a:gd name="T4" fmla="*/ 1 w 4"/>
                    <a:gd name="T5" fmla="*/ 3 h 4"/>
                    <a:gd name="T6" fmla="*/ 3 w 4"/>
                    <a:gd name="T7" fmla="*/ 4 h 4"/>
                    <a:gd name="T8" fmla="*/ 4 w 4"/>
                    <a:gd name="T9" fmla="*/ 1 h 4"/>
                    <a:gd name="T10" fmla="*/ 4 w 4"/>
                    <a:gd name="T11" fmla="*/ 1 h 4"/>
                    <a:gd name="T12" fmla="*/ 1 w 4"/>
                    <a:gd name="T13" fmla="*/ 0 h 4"/>
                    <a:gd name="T14" fmla="*/ 1 w 4"/>
                    <a:gd name="T15" fmla="*/ 0 h 4"/>
                    <a:gd name="T16" fmla="*/ 1 w 4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2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1" name="Freeform 117"/>
                <p:cNvSpPr>
                  <a:spLocks/>
                </p:cNvSpPr>
                <p:nvPr/>
              </p:nvSpPr>
              <p:spPr bwMode="auto">
                <a:xfrm>
                  <a:off x="2312988" y="2516188"/>
                  <a:ext cx="58738" cy="311150"/>
                </a:xfrm>
                <a:custGeom>
                  <a:avLst/>
                  <a:gdLst>
                    <a:gd name="T0" fmla="*/ 9 w 12"/>
                    <a:gd name="T1" fmla="*/ 0 h 64"/>
                    <a:gd name="T2" fmla="*/ 1 w 12"/>
                    <a:gd name="T3" fmla="*/ 64 h 64"/>
                    <a:gd name="T4" fmla="*/ 0 w 12"/>
                    <a:gd name="T5" fmla="*/ 64 h 64"/>
                    <a:gd name="T6" fmla="*/ 0 w 12"/>
                    <a:gd name="T7" fmla="*/ 64 h 64"/>
                    <a:gd name="T8" fmla="*/ 0 w 12"/>
                    <a:gd name="T9" fmla="*/ 64 h 64"/>
                    <a:gd name="T10" fmla="*/ 0 w 12"/>
                    <a:gd name="T11" fmla="*/ 64 h 64"/>
                    <a:gd name="T12" fmla="*/ 3 w 12"/>
                    <a:gd name="T13" fmla="*/ 64 h 64"/>
                    <a:gd name="T14" fmla="*/ 4 w 12"/>
                    <a:gd name="T15" fmla="*/ 64 h 64"/>
                    <a:gd name="T16" fmla="*/ 12 w 12"/>
                    <a:gd name="T17" fmla="*/ 1 h 64"/>
                    <a:gd name="T18" fmla="*/ 10 w 12"/>
                    <a:gd name="T19" fmla="*/ 0 h 64"/>
                    <a:gd name="T20" fmla="*/ 9 w 12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" h="64">
                      <a:moveTo>
                        <a:pt x="9" y="0"/>
                      </a:moveTo>
                      <a:cubicBezTo>
                        <a:pt x="1" y="64"/>
                        <a:pt x="1" y="64"/>
                        <a:pt x="1" y="64"/>
                      </a:cubicBezTo>
                      <a:cubicBezTo>
                        <a:pt x="1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1" y="64"/>
                        <a:pt x="2" y="64"/>
                        <a:pt x="3" y="64"/>
                      </a:cubicBezTo>
                      <a:cubicBezTo>
                        <a:pt x="4" y="64"/>
                        <a:pt x="4" y="64"/>
                        <a:pt x="4" y="64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1"/>
                        <a:pt x="11" y="0"/>
                        <a:pt x="10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2" name="Freeform 11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3" name="Freeform 119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4" name="Freeform 120"/>
                <p:cNvSpPr>
                  <a:spLocks/>
                </p:cNvSpPr>
                <p:nvPr/>
              </p:nvSpPr>
              <p:spPr bwMode="auto">
                <a:xfrm>
                  <a:off x="2343151" y="2501901"/>
                  <a:ext cx="19050" cy="0"/>
                </a:xfrm>
                <a:custGeom>
                  <a:avLst/>
                  <a:gdLst>
                    <a:gd name="T0" fmla="*/ 0 w 4"/>
                    <a:gd name="T1" fmla="*/ 4 w 4"/>
                    <a:gd name="T2" fmla="*/ 4 w 4"/>
                    <a:gd name="T3" fmla="*/ 4 w 4"/>
                    <a:gd name="T4" fmla="*/ 1 w 4"/>
                    <a:gd name="T5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cubicBezTo>
                        <a:pt x="1" y="0"/>
                        <a:pt x="2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0"/>
                        <a:pt x="2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9693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5" name="Freeform 121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28575" cy="19050"/>
                </a:xfrm>
                <a:custGeom>
                  <a:avLst/>
                  <a:gdLst>
                    <a:gd name="T0" fmla="*/ 0 w 6"/>
                    <a:gd name="T1" fmla="*/ 0 h 4"/>
                    <a:gd name="T2" fmla="*/ 0 w 6"/>
                    <a:gd name="T3" fmla="*/ 4 h 4"/>
                    <a:gd name="T4" fmla="*/ 5 w 6"/>
                    <a:gd name="T5" fmla="*/ 4 h 4"/>
                    <a:gd name="T6" fmla="*/ 6 w 6"/>
                    <a:gd name="T7" fmla="*/ 1 h 4"/>
                    <a:gd name="T8" fmla="*/ 2 w 6"/>
                    <a:gd name="T9" fmla="*/ 1 h 4"/>
                    <a:gd name="T10" fmla="*/ 1 w 6"/>
                    <a:gd name="T11" fmla="*/ 0 h 4"/>
                    <a:gd name="T12" fmla="*/ 0 w 6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2" y="4"/>
                        <a:pt x="4" y="4"/>
                        <a:pt x="5" y="4"/>
                      </a:cubicBezTo>
                      <a:cubicBezTo>
                        <a:pt x="6" y="1"/>
                        <a:pt x="6" y="1"/>
                        <a:pt x="6" y="1"/>
                      </a:cubicBezTo>
                      <a:cubicBezTo>
                        <a:pt x="4" y="1"/>
                        <a:pt x="3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2C0C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" name="Freeform 122"/>
                <p:cNvSpPr>
                  <a:spLocks/>
                </p:cNvSpPr>
                <p:nvPr/>
              </p:nvSpPr>
              <p:spPr bwMode="auto">
                <a:xfrm>
                  <a:off x="2293938" y="2516188"/>
                  <a:ext cx="63500" cy="311150"/>
                </a:xfrm>
                <a:custGeom>
                  <a:avLst/>
                  <a:gdLst>
                    <a:gd name="T0" fmla="*/ 8 w 13"/>
                    <a:gd name="T1" fmla="*/ 0 h 64"/>
                    <a:gd name="T2" fmla="*/ 0 w 13"/>
                    <a:gd name="T3" fmla="*/ 63 h 64"/>
                    <a:gd name="T4" fmla="*/ 0 w 13"/>
                    <a:gd name="T5" fmla="*/ 63 h 64"/>
                    <a:gd name="T6" fmla="*/ 1 w 13"/>
                    <a:gd name="T7" fmla="*/ 63 h 64"/>
                    <a:gd name="T8" fmla="*/ 2 w 13"/>
                    <a:gd name="T9" fmla="*/ 63 h 64"/>
                    <a:gd name="T10" fmla="*/ 2 w 13"/>
                    <a:gd name="T11" fmla="*/ 63 h 64"/>
                    <a:gd name="T12" fmla="*/ 2 w 13"/>
                    <a:gd name="T13" fmla="*/ 63 h 64"/>
                    <a:gd name="T14" fmla="*/ 4 w 13"/>
                    <a:gd name="T15" fmla="*/ 64 h 64"/>
                    <a:gd name="T16" fmla="*/ 5 w 13"/>
                    <a:gd name="T17" fmla="*/ 64 h 64"/>
                    <a:gd name="T18" fmla="*/ 13 w 13"/>
                    <a:gd name="T19" fmla="*/ 0 h 64"/>
                    <a:gd name="T20" fmla="*/ 8 w 13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1" y="63"/>
                      </a:cubicBezTo>
                      <a:cubicBezTo>
                        <a:pt x="1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3" y="63"/>
                        <a:pt x="3" y="64"/>
                        <a:pt x="4" y="64"/>
                      </a:cubicBezTo>
                      <a:cubicBezTo>
                        <a:pt x="4" y="64"/>
                        <a:pt x="5" y="64"/>
                        <a:pt x="5" y="64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2" y="0"/>
                        <a:pt x="10" y="0"/>
                        <a:pt x="8" y="0"/>
                      </a:cubicBezTo>
                    </a:path>
                  </a:pathLst>
                </a:custGeom>
                <a:solidFill>
                  <a:srgbClr val="F5EA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" name="Freeform 123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2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2 w 3"/>
                    <a:gd name="T7" fmla="*/ 0 h 1"/>
                    <a:gd name="T8" fmla="*/ 0 w 3"/>
                    <a:gd name="T9" fmla="*/ 0 h 1"/>
                    <a:gd name="T10" fmla="*/ 0 w 3"/>
                    <a:gd name="T11" fmla="*/ 0 h 1"/>
                    <a:gd name="T12" fmla="*/ 1 w 3"/>
                    <a:gd name="T13" fmla="*/ 0 h 1"/>
                    <a:gd name="T14" fmla="*/ 1 w 3"/>
                    <a:gd name="T15" fmla="*/ 0 h 1"/>
                    <a:gd name="T16" fmla="*/ 0 w 3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EC5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" name="Freeform 124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1 w 3"/>
                    <a:gd name="T1" fmla="*/ 0 h 1"/>
                    <a:gd name="T2" fmla="*/ 2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1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1 w 3"/>
                    <a:gd name="T15" fmla="*/ 0 h 1"/>
                    <a:gd name="T16" fmla="*/ 1 w 3"/>
                    <a:gd name="T17" fmla="*/ 0 h 1"/>
                    <a:gd name="T18" fmla="*/ 0 w 3"/>
                    <a:gd name="T1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1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2CDC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  <p:sp>
          <p:nvSpPr>
            <p:cNvPr id="12" name="Rectangle 11"/>
            <p:cNvSpPr/>
            <p:nvPr/>
          </p:nvSpPr>
          <p:spPr bwMode="auto">
            <a:xfrm>
              <a:off x="3542839" y="1754690"/>
              <a:ext cx="5507908" cy="300803"/>
            </a:xfrm>
            <a:prstGeom prst="rect">
              <a:avLst/>
            </a:prstGeom>
            <a:solidFill>
              <a:srgbClr val="0070C0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30000"/>
                </a:spcAft>
                <a:buClr>
                  <a:schemeClr val="accent1"/>
                </a:buClr>
              </a:pPr>
              <a:endParaRPr lang="en-GB" sz="2100">
                <a:latin typeface="Arial" pitchFamily="34" charset="0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3599254" y="1773744"/>
            <a:ext cx="5232256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500" dirty="0">
                <a:solidFill>
                  <a:schemeClr val="bg1"/>
                </a:solidFill>
                <a:latin typeface="Century Gothic" panose="020B0502020202020204" pitchFamily="34" charset="0"/>
              </a:rPr>
              <a:t>Service Level Management |Portfolio Overview | DE </a:t>
            </a:r>
          </a:p>
        </p:txBody>
      </p:sp>
      <p:pic>
        <p:nvPicPr>
          <p:cNvPr id="12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65" t="1875" r="6030" b="19537"/>
          <a:stretch/>
        </p:blipFill>
        <p:spPr bwMode="auto">
          <a:xfrm>
            <a:off x="3549526" y="2061642"/>
            <a:ext cx="5472608" cy="33186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35" name="Group 239"/>
          <p:cNvGrpSpPr>
            <a:grpSpLocks/>
          </p:cNvGrpSpPr>
          <p:nvPr/>
        </p:nvGrpSpPr>
        <p:grpSpPr bwMode="auto">
          <a:xfrm>
            <a:off x="7174764" y="9088836"/>
            <a:ext cx="3659314" cy="4877929"/>
            <a:chOff x="96" y="1859"/>
            <a:chExt cx="2136" cy="2350"/>
          </a:xfrm>
        </p:grpSpPr>
        <p:sp>
          <p:nvSpPr>
            <p:cNvPr id="136" name="Freeform 240"/>
            <p:cNvSpPr>
              <a:spLocks/>
            </p:cNvSpPr>
            <p:nvPr/>
          </p:nvSpPr>
          <p:spPr bwMode="auto">
            <a:xfrm>
              <a:off x="96" y="1859"/>
              <a:ext cx="2136" cy="2269"/>
            </a:xfrm>
            <a:custGeom>
              <a:avLst/>
              <a:gdLst>
                <a:gd name="T0" fmla="*/ 2136 w 2136"/>
                <a:gd name="T1" fmla="*/ 2253 h 2269"/>
                <a:gd name="T2" fmla="*/ 1992 w 2136"/>
                <a:gd name="T3" fmla="*/ 1797 h 2269"/>
                <a:gd name="T4" fmla="*/ 1712 w 2136"/>
                <a:gd name="T5" fmla="*/ 1709 h 2269"/>
                <a:gd name="T6" fmla="*/ 1488 w 2136"/>
                <a:gd name="T7" fmla="*/ 1501 h 2269"/>
                <a:gd name="T8" fmla="*/ 1240 w 2136"/>
                <a:gd name="T9" fmla="*/ 1485 h 2269"/>
                <a:gd name="T10" fmla="*/ 976 w 2136"/>
                <a:gd name="T11" fmla="*/ 1333 h 2269"/>
                <a:gd name="T12" fmla="*/ 752 w 2136"/>
                <a:gd name="T13" fmla="*/ 1333 h 2269"/>
                <a:gd name="T14" fmla="*/ 680 w 2136"/>
                <a:gd name="T15" fmla="*/ 1405 h 2269"/>
                <a:gd name="T16" fmla="*/ 504 w 2136"/>
                <a:gd name="T17" fmla="*/ 1165 h 2269"/>
                <a:gd name="T18" fmla="*/ 480 w 2136"/>
                <a:gd name="T19" fmla="*/ 813 h 2269"/>
                <a:gd name="T20" fmla="*/ 392 w 2136"/>
                <a:gd name="T21" fmla="*/ 573 h 2269"/>
                <a:gd name="T22" fmla="*/ 400 w 2136"/>
                <a:gd name="T23" fmla="*/ 349 h 2269"/>
                <a:gd name="T24" fmla="*/ 304 w 2136"/>
                <a:gd name="T25" fmla="*/ 53 h 2269"/>
                <a:gd name="T26" fmla="*/ 152 w 2136"/>
                <a:gd name="T27" fmla="*/ 29 h 2269"/>
                <a:gd name="T28" fmla="*/ 48 w 2136"/>
                <a:gd name="T29" fmla="*/ 165 h 2269"/>
                <a:gd name="T30" fmla="*/ 8 w 2136"/>
                <a:gd name="T31" fmla="*/ 813 h 2269"/>
                <a:gd name="T32" fmla="*/ 96 w 2136"/>
                <a:gd name="T33" fmla="*/ 1349 h 2269"/>
                <a:gd name="T34" fmla="*/ 144 w 2136"/>
                <a:gd name="T35" fmla="*/ 1885 h 2269"/>
                <a:gd name="T36" fmla="*/ 144 w 2136"/>
                <a:gd name="T37" fmla="*/ 2269 h 2269"/>
                <a:gd name="T38" fmla="*/ 2136 w 2136"/>
                <a:gd name="T39" fmla="*/ 2253 h 2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136" h="2269">
                  <a:moveTo>
                    <a:pt x="2136" y="2253"/>
                  </a:moveTo>
                  <a:cubicBezTo>
                    <a:pt x="2099" y="2070"/>
                    <a:pt x="2063" y="1888"/>
                    <a:pt x="1992" y="1797"/>
                  </a:cubicBezTo>
                  <a:cubicBezTo>
                    <a:pt x="1921" y="1706"/>
                    <a:pt x="1796" y="1758"/>
                    <a:pt x="1712" y="1709"/>
                  </a:cubicBezTo>
                  <a:cubicBezTo>
                    <a:pt x="1628" y="1660"/>
                    <a:pt x="1567" y="1538"/>
                    <a:pt x="1488" y="1501"/>
                  </a:cubicBezTo>
                  <a:cubicBezTo>
                    <a:pt x="1409" y="1464"/>
                    <a:pt x="1325" y="1513"/>
                    <a:pt x="1240" y="1485"/>
                  </a:cubicBezTo>
                  <a:cubicBezTo>
                    <a:pt x="1155" y="1457"/>
                    <a:pt x="1057" y="1358"/>
                    <a:pt x="976" y="1333"/>
                  </a:cubicBezTo>
                  <a:cubicBezTo>
                    <a:pt x="895" y="1308"/>
                    <a:pt x="801" y="1321"/>
                    <a:pt x="752" y="1333"/>
                  </a:cubicBezTo>
                  <a:cubicBezTo>
                    <a:pt x="703" y="1345"/>
                    <a:pt x="721" y="1433"/>
                    <a:pt x="680" y="1405"/>
                  </a:cubicBezTo>
                  <a:cubicBezTo>
                    <a:pt x="639" y="1377"/>
                    <a:pt x="537" y="1264"/>
                    <a:pt x="504" y="1165"/>
                  </a:cubicBezTo>
                  <a:cubicBezTo>
                    <a:pt x="471" y="1066"/>
                    <a:pt x="499" y="912"/>
                    <a:pt x="480" y="813"/>
                  </a:cubicBezTo>
                  <a:cubicBezTo>
                    <a:pt x="461" y="714"/>
                    <a:pt x="405" y="650"/>
                    <a:pt x="392" y="573"/>
                  </a:cubicBezTo>
                  <a:cubicBezTo>
                    <a:pt x="379" y="496"/>
                    <a:pt x="415" y="436"/>
                    <a:pt x="400" y="349"/>
                  </a:cubicBezTo>
                  <a:cubicBezTo>
                    <a:pt x="385" y="262"/>
                    <a:pt x="345" y="106"/>
                    <a:pt x="304" y="53"/>
                  </a:cubicBezTo>
                  <a:cubicBezTo>
                    <a:pt x="263" y="0"/>
                    <a:pt x="195" y="10"/>
                    <a:pt x="152" y="29"/>
                  </a:cubicBezTo>
                  <a:cubicBezTo>
                    <a:pt x="109" y="48"/>
                    <a:pt x="72" y="34"/>
                    <a:pt x="48" y="165"/>
                  </a:cubicBezTo>
                  <a:cubicBezTo>
                    <a:pt x="24" y="296"/>
                    <a:pt x="0" y="616"/>
                    <a:pt x="8" y="813"/>
                  </a:cubicBezTo>
                  <a:cubicBezTo>
                    <a:pt x="16" y="1010"/>
                    <a:pt x="73" y="1170"/>
                    <a:pt x="96" y="1349"/>
                  </a:cubicBezTo>
                  <a:cubicBezTo>
                    <a:pt x="119" y="1528"/>
                    <a:pt x="136" y="1732"/>
                    <a:pt x="144" y="1885"/>
                  </a:cubicBezTo>
                  <a:cubicBezTo>
                    <a:pt x="152" y="2038"/>
                    <a:pt x="144" y="2205"/>
                    <a:pt x="144" y="2269"/>
                  </a:cubicBezTo>
                  <a:cubicBezTo>
                    <a:pt x="144" y="2269"/>
                    <a:pt x="2136" y="2253"/>
                    <a:pt x="2136" y="2253"/>
                  </a:cubicBezTo>
                  <a:close/>
                </a:path>
              </a:pathLst>
            </a:custGeom>
            <a:solidFill>
              <a:srgbClr val="D6A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37" name="Group 241"/>
            <p:cNvGrpSpPr>
              <a:grpSpLocks/>
            </p:cNvGrpSpPr>
            <p:nvPr/>
          </p:nvGrpSpPr>
          <p:grpSpPr bwMode="auto">
            <a:xfrm>
              <a:off x="159" y="1880"/>
              <a:ext cx="1865" cy="2329"/>
              <a:chOff x="159" y="1880"/>
              <a:chExt cx="1865" cy="2329"/>
            </a:xfrm>
          </p:grpSpPr>
          <p:sp>
            <p:nvSpPr>
              <p:cNvPr id="139" name="Freeform 242"/>
              <p:cNvSpPr>
                <a:spLocks/>
              </p:cNvSpPr>
              <p:nvPr/>
            </p:nvSpPr>
            <p:spPr bwMode="auto">
              <a:xfrm>
                <a:off x="284" y="2599"/>
                <a:ext cx="1740" cy="1610"/>
              </a:xfrm>
              <a:custGeom>
                <a:avLst/>
                <a:gdLst>
                  <a:gd name="T0" fmla="*/ 908 w 1740"/>
                  <a:gd name="T1" fmla="*/ 1513 h 1610"/>
                  <a:gd name="T2" fmla="*/ 876 w 1740"/>
                  <a:gd name="T3" fmla="*/ 1049 h 1610"/>
                  <a:gd name="T4" fmla="*/ 1012 w 1740"/>
                  <a:gd name="T5" fmla="*/ 1217 h 1610"/>
                  <a:gd name="T6" fmla="*/ 1012 w 1740"/>
                  <a:gd name="T7" fmla="*/ 1545 h 1610"/>
                  <a:gd name="T8" fmla="*/ 1228 w 1740"/>
                  <a:gd name="T9" fmla="*/ 1545 h 1610"/>
                  <a:gd name="T10" fmla="*/ 1356 w 1740"/>
                  <a:gd name="T11" fmla="*/ 1153 h 1610"/>
                  <a:gd name="T12" fmla="*/ 1548 w 1740"/>
                  <a:gd name="T13" fmla="*/ 1329 h 1610"/>
                  <a:gd name="T14" fmla="*/ 1636 w 1740"/>
                  <a:gd name="T15" fmla="*/ 1177 h 1610"/>
                  <a:gd name="T16" fmla="*/ 1732 w 1740"/>
                  <a:gd name="T17" fmla="*/ 1113 h 1610"/>
                  <a:gd name="T18" fmla="*/ 1588 w 1740"/>
                  <a:gd name="T19" fmla="*/ 1113 h 1610"/>
                  <a:gd name="T20" fmla="*/ 1546 w 1740"/>
                  <a:gd name="T21" fmla="*/ 1328 h 1610"/>
                  <a:gd name="T22" fmla="*/ 1357 w 1740"/>
                  <a:gd name="T23" fmla="*/ 1151 h 1610"/>
                  <a:gd name="T24" fmla="*/ 1372 w 1740"/>
                  <a:gd name="T25" fmla="*/ 905 h 1610"/>
                  <a:gd name="T26" fmla="*/ 1188 w 1740"/>
                  <a:gd name="T27" fmla="*/ 801 h 1610"/>
                  <a:gd name="T28" fmla="*/ 1084 w 1740"/>
                  <a:gd name="T29" fmla="*/ 1025 h 1610"/>
                  <a:gd name="T30" fmla="*/ 796 w 1740"/>
                  <a:gd name="T31" fmla="*/ 673 h 1610"/>
                  <a:gd name="T32" fmla="*/ 564 w 1740"/>
                  <a:gd name="T33" fmla="*/ 697 h 1610"/>
                  <a:gd name="T34" fmla="*/ 412 w 1740"/>
                  <a:gd name="T35" fmla="*/ 889 h 1610"/>
                  <a:gd name="T36" fmla="*/ 196 w 1740"/>
                  <a:gd name="T37" fmla="*/ 745 h 1610"/>
                  <a:gd name="T38" fmla="*/ 164 w 1740"/>
                  <a:gd name="T39" fmla="*/ 353 h 1610"/>
                  <a:gd name="T40" fmla="*/ 100 w 1740"/>
                  <a:gd name="T41" fmla="*/ 25 h 1610"/>
                  <a:gd name="T42" fmla="*/ 84 w 1740"/>
                  <a:gd name="T43" fmla="*/ 201 h 1610"/>
                  <a:gd name="T44" fmla="*/ 84 w 1740"/>
                  <a:gd name="T45" fmla="*/ 793 h 1610"/>
                  <a:gd name="T46" fmla="*/ 12 w 1740"/>
                  <a:gd name="T47" fmla="*/ 1321 h 1610"/>
                  <a:gd name="T48" fmla="*/ 12 w 1740"/>
                  <a:gd name="T49" fmla="*/ 1569 h 1610"/>
                  <a:gd name="T50" fmla="*/ 908 w 1740"/>
                  <a:gd name="T51" fmla="*/ 1513 h 161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740" h="1610">
                    <a:moveTo>
                      <a:pt x="908" y="1513"/>
                    </a:moveTo>
                    <a:cubicBezTo>
                      <a:pt x="883" y="1305"/>
                      <a:pt x="859" y="1098"/>
                      <a:pt x="876" y="1049"/>
                    </a:cubicBezTo>
                    <a:cubicBezTo>
                      <a:pt x="893" y="1000"/>
                      <a:pt x="989" y="1134"/>
                      <a:pt x="1012" y="1217"/>
                    </a:cubicBezTo>
                    <a:cubicBezTo>
                      <a:pt x="1035" y="1300"/>
                      <a:pt x="976" y="1490"/>
                      <a:pt x="1012" y="1545"/>
                    </a:cubicBezTo>
                    <a:cubicBezTo>
                      <a:pt x="1048" y="1600"/>
                      <a:pt x="1171" y="1610"/>
                      <a:pt x="1228" y="1545"/>
                    </a:cubicBezTo>
                    <a:cubicBezTo>
                      <a:pt x="1285" y="1480"/>
                      <a:pt x="1303" y="1189"/>
                      <a:pt x="1356" y="1153"/>
                    </a:cubicBezTo>
                    <a:lnTo>
                      <a:pt x="1548" y="1329"/>
                    </a:lnTo>
                    <a:cubicBezTo>
                      <a:pt x="1595" y="1333"/>
                      <a:pt x="1605" y="1213"/>
                      <a:pt x="1636" y="1177"/>
                    </a:cubicBezTo>
                    <a:cubicBezTo>
                      <a:pt x="1667" y="1141"/>
                      <a:pt x="1740" y="1124"/>
                      <a:pt x="1732" y="1113"/>
                    </a:cubicBezTo>
                    <a:cubicBezTo>
                      <a:pt x="1724" y="1102"/>
                      <a:pt x="1619" y="1077"/>
                      <a:pt x="1588" y="1113"/>
                    </a:cubicBezTo>
                    <a:cubicBezTo>
                      <a:pt x="1557" y="1149"/>
                      <a:pt x="1584" y="1322"/>
                      <a:pt x="1546" y="1328"/>
                    </a:cubicBezTo>
                    <a:lnTo>
                      <a:pt x="1357" y="1151"/>
                    </a:lnTo>
                    <a:cubicBezTo>
                      <a:pt x="1328" y="1081"/>
                      <a:pt x="1400" y="963"/>
                      <a:pt x="1372" y="905"/>
                    </a:cubicBezTo>
                    <a:cubicBezTo>
                      <a:pt x="1344" y="847"/>
                      <a:pt x="1236" y="781"/>
                      <a:pt x="1188" y="801"/>
                    </a:cubicBezTo>
                    <a:cubicBezTo>
                      <a:pt x="1140" y="821"/>
                      <a:pt x="1149" y="1046"/>
                      <a:pt x="1084" y="1025"/>
                    </a:cubicBezTo>
                    <a:cubicBezTo>
                      <a:pt x="1019" y="1004"/>
                      <a:pt x="883" y="728"/>
                      <a:pt x="796" y="673"/>
                    </a:cubicBezTo>
                    <a:cubicBezTo>
                      <a:pt x="709" y="618"/>
                      <a:pt x="628" y="661"/>
                      <a:pt x="564" y="697"/>
                    </a:cubicBezTo>
                    <a:cubicBezTo>
                      <a:pt x="500" y="733"/>
                      <a:pt x="473" y="881"/>
                      <a:pt x="412" y="889"/>
                    </a:cubicBezTo>
                    <a:cubicBezTo>
                      <a:pt x="351" y="897"/>
                      <a:pt x="237" y="834"/>
                      <a:pt x="196" y="745"/>
                    </a:cubicBezTo>
                    <a:cubicBezTo>
                      <a:pt x="155" y="656"/>
                      <a:pt x="180" y="473"/>
                      <a:pt x="164" y="353"/>
                    </a:cubicBezTo>
                    <a:cubicBezTo>
                      <a:pt x="148" y="233"/>
                      <a:pt x="113" y="50"/>
                      <a:pt x="100" y="25"/>
                    </a:cubicBezTo>
                    <a:cubicBezTo>
                      <a:pt x="87" y="0"/>
                      <a:pt x="87" y="73"/>
                      <a:pt x="84" y="201"/>
                    </a:cubicBezTo>
                    <a:cubicBezTo>
                      <a:pt x="81" y="329"/>
                      <a:pt x="96" y="606"/>
                      <a:pt x="84" y="793"/>
                    </a:cubicBezTo>
                    <a:cubicBezTo>
                      <a:pt x="72" y="980"/>
                      <a:pt x="24" y="1192"/>
                      <a:pt x="12" y="1321"/>
                    </a:cubicBezTo>
                    <a:cubicBezTo>
                      <a:pt x="0" y="1450"/>
                      <a:pt x="6" y="1509"/>
                      <a:pt x="12" y="1569"/>
                    </a:cubicBezTo>
                    <a:cubicBezTo>
                      <a:pt x="12" y="1569"/>
                      <a:pt x="908" y="1513"/>
                      <a:pt x="908" y="1513"/>
                    </a:cubicBezTo>
                    <a:close/>
                  </a:path>
                </a:pathLst>
              </a:custGeom>
              <a:solidFill>
                <a:srgbClr val="D6A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" name="Freeform 243"/>
              <p:cNvSpPr>
                <a:spLocks/>
              </p:cNvSpPr>
              <p:nvPr/>
            </p:nvSpPr>
            <p:spPr bwMode="auto">
              <a:xfrm>
                <a:off x="159" y="1880"/>
                <a:ext cx="268" cy="225"/>
              </a:xfrm>
              <a:custGeom>
                <a:avLst/>
                <a:gdLst>
                  <a:gd name="T0" fmla="*/ 9 w 268"/>
                  <a:gd name="T1" fmla="*/ 136 h 225"/>
                  <a:gd name="T2" fmla="*/ 129 w 268"/>
                  <a:gd name="T3" fmla="*/ 224 h 225"/>
                  <a:gd name="T4" fmla="*/ 257 w 268"/>
                  <a:gd name="T5" fmla="*/ 144 h 225"/>
                  <a:gd name="T6" fmla="*/ 193 w 268"/>
                  <a:gd name="T7" fmla="*/ 32 h 225"/>
                  <a:gd name="T8" fmla="*/ 73 w 268"/>
                  <a:gd name="T9" fmla="*/ 16 h 225"/>
                  <a:gd name="T10" fmla="*/ 9 w 268"/>
                  <a:gd name="T11" fmla="*/ 136 h 2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8" h="225">
                    <a:moveTo>
                      <a:pt x="9" y="136"/>
                    </a:moveTo>
                    <a:cubicBezTo>
                      <a:pt x="18" y="171"/>
                      <a:pt x="88" y="223"/>
                      <a:pt x="129" y="224"/>
                    </a:cubicBezTo>
                    <a:cubicBezTo>
                      <a:pt x="170" y="225"/>
                      <a:pt x="246" y="176"/>
                      <a:pt x="257" y="144"/>
                    </a:cubicBezTo>
                    <a:cubicBezTo>
                      <a:pt x="268" y="112"/>
                      <a:pt x="224" y="53"/>
                      <a:pt x="193" y="32"/>
                    </a:cubicBezTo>
                    <a:cubicBezTo>
                      <a:pt x="162" y="11"/>
                      <a:pt x="104" y="0"/>
                      <a:pt x="73" y="16"/>
                    </a:cubicBezTo>
                    <a:cubicBezTo>
                      <a:pt x="42" y="32"/>
                      <a:pt x="0" y="101"/>
                      <a:pt x="9" y="136"/>
                    </a:cubicBezTo>
                    <a:close/>
                  </a:path>
                </a:pathLst>
              </a:custGeom>
              <a:solidFill>
                <a:srgbClr val="E9BEA9"/>
              </a:solidFill>
              <a:ln w="9525" cap="flat" cmpd="sng">
                <a:solidFill>
                  <a:srgbClr val="DAAD80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138" name="Freeform 244"/>
            <p:cNvSpPr>
              <a:spLocks/>
            </p:cNvSpPr>
            <p:nvPr/>
          </p:nvSpPr>
          <p:spPr bwMode="auto">
            <a:xfrm>
              <a:off x="213" y="2432"/>
              <a:ext cx="188" cy="139"/>
            </a:xfrm>
            <a:custGeom>
              <a:avLst/>
              <a:gdLst>
                <a:gd name="T0" fmla="*/ 11 w 188"/>
                <a:gd name="T1" fmla="*/ 0 h 139"/>
                <a:gd name="T2" fmla="*/ 91 w 188"/>
                <a:gd name="T3" fmla="*/ 56 h 139"/>
                <a:gd name="T4" fmla="*/ 187 w 188"/>
                <a:gd name="T5" fmla="*/ 16 h 139"/>
                <a:gd name="T6" fmla="*/ 83 w 188"/>
                <a:gd name="T7" fmla="*/ 88 h 139"/>
                <a:gd name="T8" fmla="*/ 3 w 188"/>
                <a:gd name="T9" fmla="*/ 56 h 139"/>
                <a:gd name="T10" fmla="*/ 99 w 188"/>
                <a:gd name="T11" fmla="*/ 128 h 139"/>
                <a:gd name="T12" fmla="*/ 147 w 188"/>
                <a:gd name="T13" fmla="*/ 120 h 1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8" h="139">
                  <a:moveTo>
                    <a:pt x="11" y="0"/>
                  </a:moveTo>
                  <a:cubicBezTo>
                    <a:pt x="36" y="26"/>
                    <a:pt x="62" y="53"/>
                    <a:pt x="91" y="56"/>
                  </a:cubicBezTo>
                  <a:cubicBezTo>
                    <a:pt x="120" y="59"/>
                    <a:pt x="188" y="11"/>
                    <a:pt x="187" y="16"/>
                  </a:cubicBezTo>
                  <a:cubicBezTo>
                    <a:pt x="186" y="21"/>
                    <a:pt x="114" y="81"/>
                    <a:pt x="83" y="88"/>
                  </a:cubicBezTo>
                  <a:cubicBezTo>
                    <a:pt x="52" y="95"/>
                    <a:pt x="0" y="49"/>
                    <a:pt x="3" y="56"/>
                  </a:cubicBezTo>
                  <a:cubicBezTo>
                    <a:pt x="6" y="63"/>
                    <a:pt x="75" y="117"/>
                    <a:pt x="99" y="128"/>
                  </a:cubicBezTo>
                  <a:cubicBezTo>
                    <a:pt x="123" y="139"/>
                    <a:pt x="135" y="129"/>
                    <a:pt x="147" y="120"/>
                  </a:cubicBezTo>
                </a:path>
              </a:pathLst>
            </a:custGeom>
            <a:noFill/>
            <a:ln w="19050" cap="flat" cmpd="sng">
              <a:solidFill>
                <a:srgbClr val="DAAD8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123" name="Rectangle 122"/>
          <p:cNvSpPr/>
          <p:nvPr/>
        </p:nvSpPr>
        <p:spPr>
          <a:xfrm>
            <a:off x="3828183" y="4886902"/>
            <a:ext cx="742950" cy="206797"/>
          </a:xfrm>
          <a:prstGeom prst="rect">
            <a:avLst/>
          </a:prstGeom>
          <a:noFill/>
          <a:ln w="28575">
            <a:solidFill>
              <a:srgbClr val="E4003A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val="812074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9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7 L -0.2625 -0.63889 " pathEditMode="relative" rAng="0" ptsTypes="AA">
                                      <p:cBhvr>
                                        <p:cTn id="11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125" y="-3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6" presetClass="emph" presetSubtype="0" decel="5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100" fill="hold"/>
                                        <p:tgtEl>
                                          <p:spTgt spid="135"/>
                                        </p:tgtEl>
                                      </p:cBhvr>
                                      <p:by x="10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00"/>
                            </p:stCondLst>
                            <p:childTnLst>
                              <p:par>
                                <p:cTn id="16" presetID="2" presetClass="exit" presetSubtype="4" ac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7" dur="300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300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 tmFilter="0, 0; .2, .5; .8, .5; 1, 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250" autoRev="1" fill="hold"/>
                                        <p:tgtEl>
                                          <p:spTgt spid="13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200"/>
                            </p:stCondLst>
                            <p:childTnLst>
                              <p:par>
                                <p:cTn id="2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200"/>
                            </p:stCondLst>
                            <p:childTnLst>
                              <p:par>
                                <p:cTn id="27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 tmFilter="0, 0; .2, .5; .8, .5; 1, 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9" dur="250" autoRev="1" fill="hold"/>
                                        <p:tgtEl>
                                          <p:spTgt spid="12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2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 tmFilter="0, 0; .2, .5; .8, .5; 1, 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2" dur="250" autoRev="1" fill="hold"/>
                                        <p:tgtEl>
                                          <p:spTgt spid="12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23" grpId="0" animBg="1"/>
      <p:bldP spid="123" grpId="1" animBg="1"/>
      <p:bldP spid="123" grpId="2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4C536D6-B736-49CE-A15A-036B8228C5C7}" type="datetime1">
              <a:rPr lang="en-GB" smtClean="0"/>
              <a:t>16/07/2019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endParaRPr lang="en-US">
              <a:latin typeface="Allianz Neo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Allianz Neo" pitchFamily="34" charset="0"/>
              </a:rPr>
              <a:t>IDS :: Data sourcing :: GRIPS</a:t>
            </a:r>
            <a:endParaRPr lang="en-US" dirty="0">
              <a:latin typeface="Allianz Neo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63724" y="1019622"/>
            <a:ext cx="2823170" cy="760959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  <a:t>Service Record</a:t>
            </a:r>
            <a:b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</a:b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  <a:t>level</a:t>
            </a:r>
          </a:p>
        </p:txBody>
      </p:sp>
      <p:grpSp>
        <p:nvGrpSpPr>
          <p:cNvPr id="148" name="Group 147"/>
          <p:cNvGrpSpPr/>
          <p:nvPr/>
        </p:nvGrpSpPr>
        <p:grpSpPr>
          <a:xfrm>
            <a:off x="1494174" y="1197546"/>
            <a:ext cx="8177734" cy="7180769"/>
            <a:chOff x="1494174" y="1197546"/>
            <a:chExt cx="8177734" cy="7180769"/>
          </a:xfrm>
        </p:grpSpPr>
        <p:grpSp>
          <p:nvGrpSpPr>
            <p:cNvPr id="10" name="Group 9"/>
            <p:cNvGrpSpPr/>
            <p:nvPr/>
          </p:nvGrpSpPr>
          <p:grpSpPr>
            <a:xfrm>
              <a:off x="1494174" y="1197546"/>
              <a:ext cx="8177734" cy="7180769"/>
              <a:chOff x="1120776" y="627534"/>
              <a:chExt cx="6134098" cy="5384330"/>
            </a:xfrm>
          </p:grpSpPr>
          <p:grpSp>
            <p:nvGrpSpPr>
              <p:cNvPr id="57" name="Group 56"/>
              <p:cNvGrpSpPr/>
              <p:nvPr/>
            </p:nvGrpSpPr>
            <p:grpSpPr>
              <a:xfrm>
                <a:off x="2147888" y="627534"/>
                <a:ext cx="5106986" cy="3933826"/>
                <a:chOff x="2147888" y="320676"/>
                <a:chExt cx="5106988" cy="3933825"/>
              </a:xfrm>
            </p:grpSpPr>
            <p:sp>
              <p:nvSpPr>
                <p:cNvPr id="119" name="Freeform 7"/>
                <p:cNvSpPr>
                  <a:spLocks/>
                </p:cNvSpPr>
                <p:nvPr/>
              </p:nvSpPr>
              <p:spPr bwMode="auto">
                <a:xfrm>
                  <a:off x="2147888" y="320676"/>
                  <a:ext cx="5097463" cy="3933825"/>
                </a:xfrm>
                <a:custGeom>
                  <a:avLst/>
                  <a:gdLst>
                    <a:gd name="T0" fmla="*/ 1047 w 1047"/>
                    <a:gd name="T1" fmla="*/ 772 h 808"/>
                    <a:gd name="T2" fmla="*/ 1047 w 1047"/>
                    <a:gd name="T3" fmla="*/ 36 h 808"/>
                    <a:gd name="T4" fmla="*/ 1011 w 1047"/>
                    <a:gd name="T5" fmla="*/ 0 h 808"/>
                    <a:gd name="T6" fmla="*/ 36 w 1047"/>
                    <a:gd name="T7" fmla="*/ 0 h 808"/>
                    <a:gd name="T8" fmla="*/ 0 w 1047"/>
                    <a:gd name="T9" fmla="*/ 36 h 808"/>
                    <a:gd name="T10" fmla="*/ 0 w 1047"/>
                    <a:gd name="T11" fmla="*/ 772 h 808"/>
                    <a:gd name="T12" fmla="*/ 36 w 1047"/>
                    <a:gd name="T13" fmla="*/ 808 h 808"/>
                    <a:gd name="T14" fmla="*/ 1011 w 1047"/>
                    <a:gd name="T15" fmla="*/ 808 h 808"/>
                    <a:gd name="T16" fmla="*/ 1047 w 1047"/>
                    <a:gd name="T17" fmla="*/ 772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7" h="808">
                      <a:moveTo>
                        <a:pt x="1047" y="772"/>
                      </a:moveTo>
                      <a:cubicBezTo>
                        <a:pt x="1047" y="36"/>
                        <a:pt x="1047" y="36"/>
                        <a:pt x="1047" y="36"/>
                      </a:cubicBezTo>
                      <a:cubicBezTo>
                        <a:pt x="1047" y="17"/>
                        <a:pt x="1031" y="0"/>
                        <a:pt x="1011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16" y="0"/>
                        <a:pt x="0" y="17"/>
                        <a:pt x="0" y="36"/>
                      </a:cubicBezTo>
                      <a:cubicBezTo>
                        <a:pt x="0" y="772"/>
                        <a:pt x="0" y="772"/>
                        <a:pt x="0" y="772"/>
                      </a:cubicBezTo>
                      <a:cubicBezTo>
                        <a:pt x="0" y="792"/>
                        <a:pt x="16" y="808"/>
                        <a:pt x="36" y="808"/>
                      </a:cubicBezTo>
                      <a:cubicBezTo>
                        <a:pt x="1011" y="808"/>
                        <a:pt x="1011" y="808"/>
                        <a:pt x="1011" y="808"/>
                      </a:cubicBezTo>
                      <a:cubicBezTo>
                        <a:pt x="1031" y="808"/>
                        <a:pt x="1047" y="792"/>
                        <a:pt x="1047" y="772"/>
                      </a:cubicBezTo>
                    </a:path>
                  </a:pathLst>
                </a:custGeom>
                <a:solidFill>
                  <a:srgbClr val="21242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" name="Freeform 8"/>
                <p:cNvSpPr>
                  <a:spLocks/>
                </p:cNvSpPr>
                <p:nvPr/>
              </p:nvSpPr>
              <p:spPr bwMode="auto">
                <a:xfrm>
                  <a:off x="4656138" y="320676"/>
                  <a:ext cx="2598738" cy="2093913"/>
                </a:xfrm>
                <a:custGeom>
                  <a:avLst/>
                  <a:gdLst>
                    <a:gd name="T0" fmla="*/ 534 w 534"/>
                    <a:gd name="T1" fmla="*/ 430 h 430"/>
                    <a:gd name="T2" fmla="*/ 534 w 534"/>
                    <a:gd name="T3" fmla="*/ 36 h 430"/>
                    <a:gd name="T4" fmla="*/ 498 w 534"/>
                    <a:gd name="T5" fmla="*/ 0 h 430"/>
                    <a:gd name="T6" fmla="*/ 0 w 534"/>
                    <a:gd name="T7" fmla="*/ 0 h 430"/>
                    <a:gd name="T8" fmla="*/ 534 w 534"/>
                    <a:gd name="T9" fmla="*/ 430 h 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4" h="430">
                      <a:moveTo>
                        <a:pt x="534" y="430"/>
                      </a:moveTo>
                      <a:cubicBezTo>
                        <a:pt x="534" y="36"/>
                        <a:pt x="534" y="36"/>
                        <a:pt x="534" y="36"/>
                      </a:cubicBezTo>
                      <a:cubicBezTo>
                        <a:pt x="534" y="17"/>
                        <a:pt x="518" y="0"/>
                        <a:pt x="49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534" y="430"/>
                      </a:lnTo>
                      <a:close/>
                    </a:path>
                  </a:pathLst>
                </a:custGeom>
                <a:solidFill>
                  <a:srgbClr val="5A5A5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" name="Freeform 10"/>
                <p:cNvSpPr>
                  <a:spLocks/>
                </p:cNvSpPr>
                <p:nvPr/>
              </p:nvSpPr>
              <p:spPr bwMode="auto">
                <a:xfrm>
                  <a:off x="2659063" y="739776"/>
                  <a:ext cx="4129088" cy="3095625"/>
                </a:xfrm>
                <a:custGeom>
                  <a:avLst/>
                  <a:gdLst>
                    <a:gd name="T0" fmla="*/ 848 w 848"/>
                    <a:gd name="T1" fmla="*/ 635 h 636"/>
                    <a:gd name="T2" fmla="*/ 847 w 848"/>
                    <a:gd name="T3" fmla="*/ 636 h 636"/>
                    <a:gd name="T4" fmla="*/ 2 w 848"/>
                    <a:gd name="T5" fmla="*/ 636 h 636"/>
                    <a:gd name="T6" fmla="*/ 0 w 848"/>
                    <a:gd name="T7" fmla="*/ 635 h 636"/>
                    <a:gd name="T8" fmla="*/ 0 w 848"/>
                    <a:gd name="T9" fmla="*/ 2 h 636"/>
                    <a:gd name="T10" fmla="*/ 2 w 848"/>
                    <a:gd name="T11" fmla="*/ 0 h 636"/>
                    <a:gd name="T12" fmla="*/ 847 w 848"/>
                    <a:gd name="T13" fmla="*/ 0 h 636"/>
                    <a:gd name="T14" fmla="*/ 848 w 848"/>
                    <a:gd name="T15" fmla="*/ 2 h 636"/>
                    <a:gd name="T16" fmla="*/ 848 w 848"/>
                    <a:gd name="T17" fmla="*/ 635 h 6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8" h="636">
                      <a:moveTo>
                        <a:pt x="848" y="635"/>
                      </a:moveTo>
                      <a:cubicBezTo>
                        <a:pt x="848" y="636"/>
                        <a:pt x="847" y="636"/>
                        <a:pt x="847" y="636"/>
                      </a:cubicBezTo>
                      <a:cubicBezTo>
                        <a:pt x="2" y="636"/>
                        <a:pt x="2" y="636"/>
                        <a:pt x="2" y="636"/>
                      </a:cubicBezTo>
                      <a:cubicBezTo>
                        <a:pt x="1" y="636"/>
                        <a:pt x="0" y="636"/>
                        <a:pt x="0" y="63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847" y="0"/>
                        <a:pt x="847" y="0"/>
                        <a:pt x="847" y="0"/>
                      </a:cubicBezTo>
                      <a:cubicBezTo>
                        <a:pt x="847" y="0"/>
                        <a:pt x="848" y="1"/>
                        <a:pt x="848" y="2"/>
                      </a:cubicBezTo>
                      <a:lnTo>
                        <a:pt x="848" y="63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grpSp>
            <p:nvGrpSpPr>
              <p:cNvPr id="58" name="Group 57"/>
              <p:cNvGrpSpPr/>
              <p:nvPr/>
            </p:nvGrpSpPr>
            <p:grpSpPr>
              <a:xfrm>
                <a:off x="1120776" y="2492376"/>
                <a:ext cx="1436688" cy="3519488"/>
                <a:chOff x="1120776" y="2492376"/>
                <a:chExt cx="1436688" cy="3519488"/>
              </a:xfrm>
            </p:grpSpPr>
            <p:sp>
              <p:nvSpPr>
                <p:cNvPr id="59" name="Freeform 64"/>
                <p:cNvSpPr>
                  <a:spLocks/>
                </p:cNvSpPr>
                <p:nvPr/>
              </p:nvSpPr>
              <p:spPr bwMode="auto">
                <a:xfrm>
                  <a:off x="2411413" y="2598738"/>
                  <a:ext cx="131763" cy="1655763"/>
                </a:xfrm>
                <a:custGeom>
                  <a:avLst/>
                  <a:gdLst>
                    <a:gd name="T0" fmla="*/ 14 w 27"/>
                    <a:gd name="T1" fmla="*/ 0 h 340"/>
                    <a:gd name="T2" fmla="*/ 15 w 27"/>
                    <a:gd name="T3" fmla="*/ 5 h 340"/>
                    <a:gd name="T4" fmla="*/ 22 w 27"/>
                    <a:gd name="T5" fmla="*/ 59 h 340"/>
                    <a:gd name="T6" fmla="*/ 3 w 27"/>
                    <a:gd name="T7" fmla="*/ 161 h 340"/>
                    <a:gd name="T8" fmla="*/ 6 w 27"/>
                    <a:gd name="T9" fmla="*/ 235 h 340"/>
                    <a:gd name="T10" fmla="*/ 23 w 27"/>
                    <a:gd name="T11" fmla="*/ 340 h 340"/>
                    <a:gd name="T12" fmla="*/ 27 w 27"/>
                    <a:gd name="T13" fmla="*/ 340 h 340"/>
                    <a:gd name="T14" fmla="*/ 10 w 27"/>
                    <a:gd name="T15" fmla="*/ 239 h 340"/>
                    <a:gd name="T16" fmla="*/ 7 w 27"/>
                    <a:gd name="T17" fmla="*/ 165 h 340"/>
                    <a:gd name="T18" fmla="*/ 26 w 27"/>
                    <a:gd name="T19" fmla="*/ 64 h 340"/>
                    <a:gd name="T20" fmla="*/ 14 w 27"/>
                    <a:gd name="T21" fmla="*/ 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7" h="340">
                      <a:moveTo>
                        <a:pt x="14" y="0"/>
                      </a:moveTo>
                      <a:cubicBezTo>
                        <a:pt x="14" y="2"/>
                        <a:pt x="14" y="4"/>
                        <a:pt x="15" y="5"/>
                      </a:cubicBezTo>
                      <a:cubicBezTo>
                        <a:pt x="22" y="22"/>
                        <a:pt x="23" y="45"/>
                        <a:pt x="22" y="59"/>
                      </a:cubicBezTo>
                      <a:cubicBezTo>
                        <a:pt x="21" y="83"/>
                        <a:pt x="5" y="134"/>
                        <a:pt x="3" y="161"/>
                      </a:cubicBezTo>
                      <a:cubicBezTo>
                        <a:pt x="0" y="188"/>
                        <a:pt x="8" y="211"/>
                        <a:pt x="6" y="235"/>
                      </a:cubicBezTo>
                      <a:cubicBezTo>
                        <a:pt x="4" y="254"/>
                        <a:pt x="21" y="296"/>
                        <a:pt x="23" y="340"/>
                      </a:cubicBezTo>
                      <a:cubicBezTo>
                        <a:pt x="27" y="340"/>
                        <a:pt x="27" y="340"/>
                        <a:pt x="27" y="340"/>
                      </a:cubicBezTo>
                      <a:cubicBezTo>
                        <a:pt x="24" y="297"/>
                        <a:pt x="8" y="258"/>
                        <a:pt x="10" y="239"/>
                      </a:cubicBezTo>
                      <a:cubicBezTo>
                        <a:pt x="12" y="216"/>
                        <a:pt x="5" y="192"/>
                        <a:pt x="7" y="165"/>
                      </a:cubicBezTo>
                      <a:cubicBezTo>
                        <a:pt x="9" y="138"/>
                        <a:pt x="25" y="87"/>
                        <a:pt x="26" y="64"/>
                      </a:cubicBezTo>
                      <a:cubicBezTo>
                        <a:pt x="27" y="47"/>
                        <a:pt x="26" y="17"/>
                        <a:pt x="14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0" name="Freeform 65"/>
                <p:cNvSpPr>
                  <a:spLocks/>
                </p:cNvSpPr>
                <p:nvPr/>
              </p:nvSpPr>
              <p:spPr bwMode="auto">
                <a:xfrm>
                  <a:off x="2459038" y="2565401"/>
                  <a:ext cx="20638" cy="33338"/>
                </a:xfrm>
                <a:custGeom>
                  <a:avLst/>
                  <a:gdLst>
                    <a:gd name="T0" fmla="*/ 0 w 4"/>
                    <a:gd name="T1" fmla="*/ 0 h 7"/>
                    <a:gd name="T2" fmla="*/ 2 w 4"/>
                    <a:gd name="T3" fmla="*/ 5 h 7"/>
                    <a:gd name="T4" fmla="*/ 4 w 4"/>
                    <a:gd name="T5" fmla="*/ 7 h 7"/>
                    <a:gd name="T6" fmla="*/ 0 w 4"/>
                    <a:gd name="T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7">
                      <a:moveTo>
                        <a:pt x="0" y="0"/>
                      </a:moveTo>
                      <a:cubicBezTo>
                        <a:pt x="1" y="2"/>
                        <a:pt x="1" y="3"/>
                        <a:pt x="2" y="5"/>
                      </a:cubicBezTo>
                      <a:cubicBezTo>
                        <a:pt x="2" y="6"/>
                        <a:pt x="3" y="6"/>
                        <a:pt x="4" y="7"/>
                      </a:cubicBezTo>
                      <a:cubicBezTo>
                        <a:pt x="3" y="4"/>
                        <a:pt x="2" y="2"/>
                        <a:pt x="0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1" name="Freeform 66"/>
                <p:cNvSpPr>
                  <a:spLocks/>
                </p:cNvSpPr>
                <p:nvPr/>
              </p:nvSpPr>
              <p:spPr bwMode="auto">
                <a:xfrm>
                  <a:off x="2470151" y="2589213"/>
                  <a:ext cx="14288" cy="33338"/>
                </a:xfrm>
                <a:custGeom>
                  <a:avLst/>
                  <a:gdLst>
                    <a:gd name="T0" fmla="*/ 0 w 3"/>
                    <a:gd name="T1" fmla="*/ 0 h 7"/>
                    <a:gd name="T2" fmla="*/ 0 w 3"/>
                    <a:gd name="T3" fmla="*/ 2 h 7"/>
                    <a:gd name="T4" fmla="*/ 3 w 3"/>
                    <a:gd name="T5" fmla="*/ 7 h 7"/>
                    <a:gd name="T6" fmla="*/ 2 w 3"/>
                    <a:gd name="T7" fmla="*/ 2 h 7"/>
                    <a:gd name="T8" fmla="*/ 0 w 3"/>
                    <a:gd name="T9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7">
                      <a:moveTo>
                        <a:pt x="0" y="0"/>
                      </a:moveTo>
                      <a:cubicBezTo>
                        <a:pt x="0" y="1"/>
                        <a:pt x="0" y="1"/>
                        <a:pt x="0" y="2"/>
                      </a:cubicBezTo>
                      <a:cubicBezTo>
                        <a:pt x="1" y="4"/>
                        <a:pt x="2" y="6"/>
                        <a:pt x="3" y="7"/>
                      </a:cubicBezTo>
                      <a:cubicBezTo>
                        <a:pt x="2" y="6"/>
                        <a:pt x="2" y="4"/>
                        <a:pt x="2" y="2"/>
                      </a:cubicBez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1B1D1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2" name="Freeform 68"/>
                <p:cNvSpPr>
                  <a:spLocks/>
                </p:cNvSpPr>
                <p:nvPr/>
              </p:nvSpPr>
              <p:spPr bwMode="auto">
                <a:xfrm>
                  <a:off x="1120776" y="3286126"/>
                  <a:ext cx="311150" cy="2725738"/>
                </a:xfrm>
                <a:custGeom>
                  <a:avLst/>
                  <a:gdLst>
                    <a:gd name="T0" fmla="*/ 0 w 64"/>
                    <a:gd name="T1" fmla="*/ 560 h 560"/>
                    <a:gd name="T2" fmla="*/ 62 w 64"/>
                    <a:gd name="T3" fmla="*/ 313 h 560"/>
                    <a:gd name="T4" fmla="*/ 57 w 64"/>
                    <a:gd name="T5" fmla="*/ 0 h 5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4" h="560">
                      <a:moveTo>
                        <a:pt x="0" y="560"/>
                      </a:moveTo>
                      <a:cubicBezTo>
                        <a:pt x="19" y="510"/>
                        <a:pt x="64" y="401"/>
                        <a:pt x="62" y="313"/>
                      </a:cubicBezTo>
                      <a:cubicBezTo>
                        <a:pt x="59" y="218"/>
                        <a:pt x="19" y="10"/>
                        <a:pt x="57" y="0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3" name="Freeform 69"/>
                <p:cNvSpPr>
                  <a:spLocks/>
                </p:cNvSpPr>
                <p:nvPr/>
              </p:nvSpPr>
              <p:spPr bwMode="auto">
                <a:xfrm>
                  <a:off x="1120776" y="2492376"/>
                  <a:ext cx="1436688" cy="3519488"/>
                </a:xfrm>
                <a:custGeom>
                  <a:avLst/>
                  <a:gdLst>
                    <a:gd name="T0" fmla="*/ 57 w 295"/>
                    <a:gd name="T1" fmla="*/ 163 h 723"/>
                    <a:gd name="T2" fmla="*/ 129 w 295"/>
                    <a:gd name="T3" fmla="*/ 133 h 723"/>
                    <a:gd name="T4" fmla="*/ 191 w 295"/>
                    <a:gd name="T5" fmla="*/ 104 h 723"/>
                    <a:gd name="T6" fmla="*/ 202 w 295"/>
                    <a:gd name="T7" fmla="*/ 50 h 723"/>
                    <a:gd name="T8" fmla="*/ 255 w 295"/>
                    <a:gd name="T9" fmla="*/ 5 h 723"/>
                    <a:gd name="T10" fmla="*/ 287 w 295"/>
                    <a:gd name="T11" fmla="*/ 81 h 723"/>
                    <a:gd name="T12" fmla="*/ 268 w 295"/>
                    <a:gd name="T13" fmla="*/ 183 h 723"/>
                    <a:gd name="T14" fmla="*/ 271 w 295"/>
                    <a:gd name="T15" fmla="*/ 257 h 723"/>
                    <a:gd name="T16" fmla="*/ 287 w 295"/>
                    <a:gd name="T17" fmla="*/ 394 h 723"/>
                    <a:gd name="T18" fmla="*/ 231 w 295"/>
                    <a:gd name="T19" fmla="*/ 549 h 723"/>
                    <a:gd name="T20" fmla="*/ 188 w 295"/>
                    <a:gd name="T21" fmla="*/ 723 h 723"/>
                    <a:gd name="T22" fmla="*/ 0 w 295"/>
                    <a:gd name="T23" fmla="*/ 723 h 723"/>
                    <a:gd name="T24" fmla="*/ 57 w 295"/>
                    <a:gd name="T25" fmla="*/ 163 h 7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95" h="723">
                      <a:moveTo>
                        <a:pt x="57" y="163"/>
                      </a:moveTo>
                      <a:cubicBezTo>
                        <a:pt x="72" y="151"/>
                        <a:pt x="106" y="143"/>
                        <a:pt x="129" y="133"/>
                      </a:cubicBezTo>
                      <a:cubicBezTo>
                        <a:pt x="153" y="122"/>
                        <a:pt x="185" y="107"/>
                        <a:pt x="191" y="104"/>
                      </a:cubicBezTo>
                      <a:cubicBezTo>
                        <a:pt x="196" y="101"/>
                        <a:pt x="195" y="74"/>
                        <a:pt x="202" y="50"/>
                      </a:cubicBezTo>
                      <a:cubicBezTo>
                        <a:pt x="210" y="27"/>
                        <a:pt x="224" y="0"/>
                        <a:pt x="255" y="5"/>
                      </a:cubicBezTo>
                      <a:cubicBezTo>
                        <a:pt x="286" y="11"/>
                        <a:pt x="288" y="58"/>
                        <a:pt x="287" y="81"/>
                      </a:cubicBezTo>
                      <a:cubicBezTo>
                        <a:pt x="286" y="105"/>
                        <a:pt x="270" y="156"/>
                        <a:pt x="268" y="183"/>
                      </a:cubicBezTo>
                      <a:cubicBezTo>
                        <a:pt x="265" y="210"/>
                        <a:pt x="273" y="233"/>
                        <a:pt x="271" y="257"/>
                      </a:cubicBezTo>
                      <a:cubicBezTo>
                        <a:pt x="269" y="281"/>
                        <a:pt x="295" y="339"/>
                        <a:pt x="287" y="394"/>
                      </a:cubicBezTo>
                      <a:cubicBezTo>
                        <a:pt x="279" y="449"/>
                        <a:pt x="249" y="502"/>
                        <a:pt x="231" y="549"/>
                      </a:cubicBezTo>
                      <a:cubicBezTo>
                        <a:pt x="215" y="594"/>
                        <a:pt x="192" y="670"/>
                        <a:pt x="188" y="723"/>
                      </a:cubicBezTo>
                      <a:cubicBezTo>
                        <a:pt x="0" y="723"/>
                        <a:pt x="0" y="723"/>
                        <a:pt x="0" y="723"/>
                      </a:cubicBezTo>
                      <a:cubicBezTo>
                        <a:pt x="57" y="163"/>
                        <a:pt x="57" y="163"/>
                        <a:pt x="57" y="163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4" name="Freeform 70"/>
                <p:cNvSpPr>
                  <a:spLocks/>
                </p:cNvSpPr>
                <p:nvPr/>
              </p:nvSpPr>
              <p:spPr bwMode="auto">
                <a:xfrm>
                  <a:off x="2060576" y="2968626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C1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5" name="Freeform 71"/>
                <p:cNvSpPr>
                  <a:spLocks noEditPoints="1"/>
                </p:cNvSpPr>
                <p:nvPr/>
              </p:nvSpPr>
              <p:spPr bwMode="auto">
                <a:xfrm>
                  <a:off x="1700213" y="2968626"/>
                  <a:ext cx="360363" cy="842963"/>
                </a:xfrm>
                <a:custGeom>
                  <a:avLst/>
                  <a:gdLst>
                    <a:gd name="T0" fmla="*/ 74 w 74"/>
                    <a:gd name="T1" fmla="*/ 3 h 173"/>
                    <a:gd name="T2" fmla="*/ 56 w 74"/>
                    <a:gd name="T3" fmla="*/ 50 h 173"/>
                    <a:gd name="T4" fmla="*/ 52 w 74"/>
                    <a:gd name="T5" fmla="*/ 49 h 173"/>
                    <a:gd name="T6" fmla="*/ 39 w 74"/>
                    <a:gd name="T7" fmla="*/ 44 h 173"/>
                    <a:gd name="T8" fmla="*/ 51 w 74"/>
                    <a:gd name="T9" fmla="*/ 57 h 173"/>
                    <a:gd name="T10" fmla="*/ 57 w 74"/>
                    <a:gd name="T11" fmla="*/ 66 h 173"/>
                    <a:gd name="T12" fmla="*/ 9 w 74"/>
                    <a:gd name="T13" fmla="*/ 53 h 173"/>
                    <a:gd name="T14" fmla="*/ 4 w 74"/>
                    <a:gd name="T15" fmla="*/ 53 h 173"/>
                    <a:gd name="T16" fmla="*/ 58 w 74"/>
                    <a:gd name="T17" fmla="*/ 83 h 173"/>
                    <a:gd name="T18" fmla="*/ 53 w 74"/>
                    <a:gd name="T19" fmla="*/ 92 h 173"/>
                    <a:gd name="T20" fmla="*/ 16 w 74"/>
                    <a:gd name="T21" fmla="*/ 77 h 173"/>
                    <a:gd name="T22" fmla="*/ 12 w 74"/>
                    <a:gd name="T23" fmla="*/ 76 h 173"/>
                    <a:gd name="T24" fmla="*/ 49 w 74"/>
                    <a:gd name="T25" fmla="*/ 108 h 173"/>
                    <a:gd name="T26" fmla="*/ 21 w 74"/>
                    <a:gd name="T27" fmla="*/ 139 h 173"/>
                    <a:gd name="T28" fmla="*/ 14 w 74"/>
                    <a:gd name="T29" fmla="*/ 144 h 173"/>
                    <a:gd name="T30" fmla="*/ 32 w 74"/>
                    <a:gd name="T31" fmla="*/ 142 h 173"/>
                    <a:gd name="T32" fmla="*/ 32 w 74"/>
                    <a:gd name="T33" fmla="*/ 142 h 173"/>
                    <a:gd name="T34" fmla="*/ 30 w 74"/>
                    <a:gd name="T35" fmla="*/ 158 h 173"/>
                    <a:gd name="T36" fmla="*/ 20 w 74"/>
                    <a:gd name="T37" fmla="*/ 173 h 173"/>
                    <a:gd name="T38" fmla="*/ 20 w 74"/>
                    <a:gd name="T39" fmla="*/ 173 h 173"/>
                    <a:gd name="T40" fmla="*/ 33 w 74"/>
                    <a:gd name="T41" fmla="*/ 158 h 173"/>
                    <a:gd name="T42" fmla="*/ 74 w 74"/>
                    <a:gd name="T43" fmla="*/ 3 h 173"/>
                    <a:gd name="T44" fmla="*/ 74 w 74"/>
                    <a:gd name="T45" fmla="*/ 0 h 173"/>
                    <a:gd name="T46" fmla="*/ 74 w 74"/>
                    <a:gd name="T47" fmla="*/ 1 h 173"/>
                    <a:gd name="T48" fmla="*/ 74 w 74"/>
                    <a:gd name="T49" fmla="*/ 3 h 173"/>
                    <a:gd name="T50" fmla="*/ 74 w 74"/>
                    <a:gd name="T51" fmla="*/ 0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74" h="173">
                      <a:moveTo>
                        <a:pt x="74" y="3"/>
                      </a:moveTo>
                      <a:cubicBezTo>
                        <a:pt x="69" y="39"/>
                        <a:pt x="63" y="50"/>
                        <a:pt x="56" y="50"/>
                      </a:cubicBezTo>
                      <a:cubicBezTo>
                        <a:pt x="55" y="50"/>
                        <a:pt x="54" y="49"/>
                        <a:pt x="52" y="49"/>
                      </a:cubicBezTo>
                      <a:cubicBezTo>
                        <a:pt x="48" y="47"/>
                        <a:pt x="41" y="44"/>
                        <a:pt x="39" y="44"/>
                      </a:cubicBezTo>
                      <a:cubicBezTo>
                        <a:pt x="36" y="44"/>
                        <a:pt x="38" y="47"/>
                        <a:pt x="51" y="57"/>
                      </a:cubicBezTo>
                      <a:cubicBezTo>
                        <a:pt x="59" y="64"/>
                        <a:pt x="60" y="66"/>
                        <a:pt x="57" y="66"/>
                      </a:cubicBezTo>
                      <a:cubicBezTo>
                        <a:pt x="50" y="66"/>
                        <a:pt x="24" y="56"/>
                        <a:pt x="9" y="53"/>
                      </a:cubicBezTo>
                      <a:cubicBezTo>
                        <a:pt x="6" y="53"/>
                        <a:pt x="5" y="53"/>
                        <a:pt x="4" y="53"/>
                      </a:cubicBezTo>
                      <a:cubicBezTo>
                        <a:pt x="0" y="53"/>
                        <a:pt x="56" y="64"/>
                        <a:pt x="58" y="83"/>
                      </a:cubicBezTo>
                      <a:cubicBezTo>
                        <a:pt x="59" y="89"/>
                        <a:pt x="57" y="92"/>
                        <a:pt x="53" y="92"/>
                      </a:cubicBezTo>
                      <a:cubicBezTo>
                        <a:pt x="44" y="92"/>
                        <a:pt x="27" y="81"/>
                        <a:pt x="16" y="77"/>
                      </a:cubicBezTo>
                      <a:cubicBezTo>
                        <a:pt x="14" y="77"/>
                        <a:pt x="13" y="76"/>
                        <a:pt x="12" y="76"/>
                      </a:cubicBezTo>
                      <a:cubicBezTo>
                        <a:pt x="7" y="76"/>
                        <a:pt x="42" y="98"/>
                        <a:pt x="49" y="108"/>
                      </a:cubicBezTo>
                      <a:cubicBezTo>
                        <a:pt x="58" y="119"/>
                        <a:pt x="41" y="133"/>
                        <a:pt x="21" y="139"/>
                      </a:cubicBezTo>
                      <a:cubicBezTo>
                        <a:pt x="10" y="143"/>
                        <a:pt x="9" y="144"/>
                        <a:pt x="14" y="144"/>
                      </a:cubicBezTo>
                      <a:cubicBezTo>
                        <a:pt x="17" y="144"/>
                        <a:pt x="24" y="143"/>
                        <a:pt x="32" y="142"/>
                      </a:cubicBezTo>
                      <a:cubicBezTo>
                        <a:pt x="32" y="142"/>
                        <a:pt x="32" y="142"/>
                        <a:pt x="32" y="142"/>
                      </a:cubicBezTo>
                      <a:cubicBezTo>
                        <a:pt x="38" y="142"/>
                        <a:pt x="35" y="150"/>
                        <a:pt x="30" y="158"/>
                      </a:cubicBezTo>
                      <a:cubicBezTo>
                        <a:pt x="26" y="165"/>
                        <a:pt x="20" y="173"/>
                        <a:pt x="20" y="173"/>
                      </a:cubicBezTo>
                      <a:cubicBezTo>
                        <a:pt x="20" y="173"/>
                        <a:pt x="20" y="173"/>
                        <a:pt x="20" y="173"/>
                      </a:cubicBezTo>
                      <a:cubicBezTo>
                        <a:pt x="21" y="173"/>
                        <a:pt x="24" y="169"/>
                        <a:pt x="33" y="158"/>
                      </a:cubicBezTo>
                      <a:cubicBezTo>
                        <a:pt x="67" y="116"/>
                        <a:pt x="71" y="25"/>
                        <a:pt x="74" y="3"/>
                      </a:cubicBezTo>
                      <a:moveTo>
                        <a:pt x="74" y="0"/>
                      </a:moveTo>
                      <a:cubicBezTo>
                        <a:pt x="74" y="1"/>
                        <a:pt x="74" y="1"/>
                        <a:pt x="74" y="1"/>
                      </a:cubicBezTo>
                      <a:cubicBezTo>
                        <a:pt x="74" y="1"/>
                        <a:pt x="74" y="2"/>
                        <a:pt x="74" y="3"/>
                      </a:cubicBezTo>
                      <a:cubicBezTo>
                        <a:pt x="74" y="2"/>
                        <a:pt x="74" y="1"/>
                        <a:pt x="7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6" name="Freeform 72"/>
                <p:cNvSpPr>
                  <a:spLocks noEditPoints="1"/>
                </p:cNvSpPr>
                <p:nvPr/>
              </p:nvSpPr>
              <p:spPr bwMode="auto">
                <a:xfrm>
                  <a:off x="2114551" y="2998788"/>
                  <a:ext cx="315913" cy="146050"/>
                </a:xfrm>
                <a:custGeom>
                  <a:avLst/>
                  <a:gdLst>
                    <a:gd name="T0" fmla="*/ 9 w 65"/>
                    <a:gd name="T1" fmla="*/ 18 h 30"/>
                    <a:gd name="T2" fmla="*/ 58 w 65"/>
                    <a:gd name="T3" fmla="*/ 30 h 30"/>
                    <a:gd name="T4" fmla="*/ 59 w 65"/>
                    <a:gd name="T5" fmla="*/ 30 h 30"/>
                    <a:gd name="T6" fmla="*/ 65 w 65"/>
                    <a:gd name="T7" fmla="*/ 30 h 30"/>
                    <a:gd name="T8" fmla="*/ 65 w 65"/>
                    <a:gd name="T9" fmla="*/ 30 h 30"/>
                    <a:gd name="T10" fmla="*/ 9 w 65"/>
                    <a:gd name="T11" fmla="*/ 18 h 30"/>
                    <a:gd name="T12" fmla="*/ 14 w 65"/>
                    <a:gd name="T13" fmla="*/ 0 h 30"/>
                    <a:gd name="T14" fmla="*/ 12 w 65"/>
                    <a:gd name="T15" fmla="*/ 0 h 30"/>
                    <a:gd name="T16" fmla="*/ 0 w 65"/>
                    <a:gd name="T17" fmla="*/ 1 h 30"/>
                    <a:gd name="T18" fmla="*/ 29 w 65"/>
                    <a:gd name="T19" fmla="*/ 4 h 30"/>
                    <a:gd name="T20" fmla="*/ 43 w 65"/>
                    <a:gd name="T21" fmla="*/ 2 h 30"/>
                    <a:gd name="T22" fmla="*/ 14 w 65"/>
                    <a:gd name="T23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5" h="30">
                      <a:moveTo>
                        <a:pt x="9" y="18"/>
                      </a:moveTo>
                      <a:cubicBezTo>
                        <a:pt x="22" y="24"/>
                        <a:pt x="44" y="30"/>
                        <a:pt x="58" y="30"/>
                      </a:cubicBezTo>
                      <a:cubicBezTo>
                        <a:pt x="59" y="30"/>
                        <a:pt x="59" y="30"/>
                        <a:pt x="59" y="30"/>
                      </a:cubicBezTo>
                      <a:cubicBezTo>
                        <a:pt x="62" y="30"/>
                        <a:pt x="64" y="30"/>
                        <a:pt x="65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55" y="29"/>
                        <a:pt x="26" y="21"/>
                        <a:pt x="9" y="18"/>
                      </a:cubicBezTo>
                      <a:moveTo>
                        <a:pt x="14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8" y="0"/>
                        <a:pt x="3" y="0"/>
                        <a:pt x="0" y="1"/>
                      </a:cubicBezTo>
                      <a:cubicBezTo>
                        <a:pt x="5" y="2"/>
                        <a:pt x="17" y="4"/>
                        <a:pt x="29" y="4"/>
                      </a:cubicBezTo>
                      <a:cubicBezTo>
                        <a:pt x="34" y="4"/>
                        <a:pt x="39" y="4"/>
                        <a:pt x="43" y="2"/>
                      </a:cubicBezTo>
                      <a:cubicBezTo>
                        <a:pt x="36" y="2"/>
                        <a:pt x="24" y="0"/>
                        <a:pt x="1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7" name="Freeform 73"/>
                <p:cNvSpPr>
                  <a:spLocks noEditPoints="1"/>
                </p:cNvSpPr>
                <p:nvPr/>
              </p:nvSpPr>
              <p:spPr bwMode="auto">
                <a:xfrm>
                  <a:off x="2211388" y="2497138"/>
                  <a:ext cx="247650" cy="68263"/>
                </a:xfrm>
                <a:custGeom>
                  <a:avLst/>
                  <a:gdLst>
                    <a:gd name="T0" fmla="*/ 34 w 51"/>
                    <a:gd name="T1" fmla="*/ 2 h 14"/>
                    <a:gd name="T2" fmla="*/ 34 w 51"/>
                    <a:gd name="T3" fmla="*/ 2 h 14"/>
                    <a:gd name="T4" fmla="*/ 37 w 51"/>
                    <a:gd name="T5" fmla="*/ 3 h 14"/>
                    <a:gd name="T6" fmla="*/ 37 w 51"/>
                    <a:gd name="T7" fmla="*/ 3 h 14"/>
                    <a:gd name="T8" fmla="*/ 36 w 51"/>
                    <a:gd name="T9" fmla="*/ 6 h 14"/>
                    <a:gd name="T10" fmla="*/ 51 w 51"/>
                    <a:gd name="T11" fmla="*/ 14 h 14"/>
                    <a:gd name="T12" fmla="*/ 34 w 51"/>
                    <a:gd name="T13" fmla="*/ 2 h 14"/>
                    <a:gd name="T14" fmla="*/ 26 w 51"/>
                    <a:gd name="T15" fmla="*/ 0 h 14"/>
                    <a:gd name="T16" fmla="*/ 26 w 51"/>
                    <a:gd name="T17" fmla="*/ 0 h 14"/>
                    <a:gd name="T18" fmla="*/ 26 w 51"/>
                    <a:gd name="T19" fmla="*/ 0 h 14"/>
                    <a:gd name="T20" fmla="*/ 20 w 51"/>
                    <a:gd name="T21" fmla="*/ 0 h 14"/>
                    <a:gd name="T22" fmla="*/ 0 w 51"/>
                    <a:gd name="T23" fmla="*/ 12 h 14"/>
                    <a:gd name="T24" fmla="*/ 19 w 51"/>
                    <a:gd name="T25" fmla="*/ 4 h 14"/>
                    <a:gd name="T26" fmla="*/ 19 w 51"/>
                    <a:gd name="T27" fmla="*/ 0 h 14"/>
                    <a:gd name="T28" fmla="*/ 20 w 51"/>
                    <a:gd name="T29" fmla="*/ 0 h 14"/>
                    <a:gd name="T30" fmla="*/ 26 w 51"/>
                    <a:gd name="T31" fmla="*/ 0 h 14"/>
                    <a:gd name="T32" fmla="*/ 20 w 51"/>
                    <a:gd name="T3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1" h="14">
                      <a:moveTo>
                        <a:pt x="34" y="2"/>
                      </a:moveTo>
                      <a:cubicBezTo>
                        <a:pt x="34" y="2"/>
                        <a:pt x="34" y="2"/>
                        <a:pt x="34" y="2"/>
                      </a:cubicBezTo>
                      <a:cubicBezTo>
                        <a:pt x="35" y="2"/>
                        <a:pt x="36" y="2"/>
                        <a:pt x="37" y="3"/>
                      </a:cubicBezTo>
                      <a:cubicBezTo>
                        <a:pt x="37" y="3"/>
                        <a:pt x="37" y="3"/>
                        <a:pt x="37" y="3"/>
                      </a:cubicBezTo>
                      <a:cubicBezTo>
                        <a:pt x="36" y="6"/>
                        <a:pt x="36" y="6"/>
                        <a:pt x="36" y="6"/>
                      </a:cubicBezTo>
                      <a:cubicBezTo>
                        <a:pt x="43" y="7"/>
                        <a:pt x="48" y="10"/>
                        <a:pt x="51" y="14"/>
                      </a:cubicBezTo>
                      <a:cubicBezTo>
                        <a:pt x="48" y="7"/>
                        <a:pt x="42" y="4"/>
                        <a:pt x="34" y="2"/>
                      </a:cubicBezTo>
                      <a:moveTo>
                        <a:pt x="26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moveTo>
                        <a:pt x="20" y="0"/>
                      </a:moveTo>
                      <a:cubicBezTo>
                        <a:pt x="9" y="0"/>
                        <a:pt x="3" y="4"/>
                        <a:pt x="0" y="12"/>
                      </a:cubicBezTo>
                      <a:cubicBezTo>
                        <a:pt x="5" y="8"/>
                        <a:pt x="11" y="5"/>
                        <a:pt x="19" y="4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2" y="0"/>
                        <a:pt x="24" y="0"/>
                        <a:pt x="26" y="0"/>
                      </a:cubicBezTo>
                      <a:cubicBezTo>
                        <a:pt x="24" y="0"/>
                        <a:pt x="22" y="0"/>
                        <a:pt x="20" y="0"/>
                      </a:cubicBezTo>
                    </a:path>
                  </a:pathLst>
                </a:custGeom>
                <a:solidFill>
                  <a:srgbClr val="7674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8" name="Freeform 74"/>
                <p:cNvSpPr>
                  <a:spLocks/>
                </p:cNvSpPr>
                <p:nvPr/>
              </p:nvSpPr>
              <p:spPr bwMode="auto">
                <a:xfrm>
                  <a:off x="2386013" y="2525713"/>
                  <a:ext cx="84138" cy="63500"/>
                </a:xfrm>
                <a:custGeom>
                  <a:avLst/>
                  <a:gdLst>
                    <a:gd name="T0" fmla="*/ 0 w 17"/>
                    <a:gd name="T1" fmla="*/ 0 h 13"/>
                    <a:gd name="T2" fmla="*/ 0 w 17"/>
                    <a:gd name="T3" fmla="*/ 0 h 13"/>
                    <a:gd name="T4" fmla="*/ 13 w 17"/>
                    <a:gd name="T5" fmla="*/ 9 h 13"/>
                    <a:gd name="T6" fmla="*/ 17 w 17"/>
                    <a:gd name="T7" fmla="*/ 13 h 13"/>
                    <a:gd name="T8" fmla="*/ 15 w 17"/>
                    <a:gd name="T9" fmla="*/ 8 h 13"/>
                    <a:gd name="T10" fmla="*/ 0 w 17"/>
                    <a:gd name="T1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" h="1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2"/>
                        <a:pt x="9" y="5"/>
                        <a:pt x="13" y="9"/>
                      </a:cubicBezTo>
                      <a:cubicBezTo>
                        <a:pt x="14" y="10"/>
                        <a:pt x="16" y="11"/>
                        <a:pt x="17" y="13"/>
                      </a:cubicBezTo>
                      <a:cubicBezTo>
                        <a:pt x="16" y="11"/>
                        <a:pt x="16" y="10"/>
                        <a:pt x="15" y="8"/>
                      </a:cubicBezTo>
                      <a:cubicBezTo>
                        <a:pt x="12" y="4"/>
                        <a:pt x="7" y="1"/>
                        <a:pt x="0" y="0"/>
                      </a:cubicBezTo>
                    </a:path>
                  </a:pathLst>
                </a:custGeom>
                <a:solidFill>
                  <a:srgbClr val="74717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9" name="Freeform 75"/>
                <p:cNvSpPr>
                  <a:spLocks/>
                </p:cNvSpPr>
                <p:nvPr/>
              </p:nvSpPr>
              <p:spPr bwMode="auto">
                <a:xfrm>
                  <a:off x="2449513" y="2570163"/>
                  <a:ext cx="20638" cy="28575"/>
                </a:xfrm>
                <a:custGeom>
                  <a:avLst/>
                  <a:gdLst>
                    <a:gd name="T0" fmla="*/ 0 w 4"/>
                    <a:gd name="T1" fmla="*/ 0 h 6"/>
                    <a:gd name="T2" fmla="*/ 4 w 4"/>
                    <a:gd name="T3" fmla="*/ 6 h 6"/>
                    <a:gd name="T4" fmla="*/ 4 w 4"/>
                    <a:gd name="T5" fmla="*/ 4 h 6"/>
                    <a:gd name="T6" fmla="*/ 0 w 4"/>
                    <a:gd name="T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6">
                      <a:moveTo>
                        <a:pt x="0" y="0"/>
                      </a:moveTo>
                      <a:cubicBezTo>
                        <a:pt x="1" y="2"/>
                        <a:pt x="3" y="4"/>
                        <a:pt x="4" y="6"/>
                      </a:cubicBezTo>
                      <a:cubicBezTo>
                        <a:pt x="4" y="5"/>
                        <a:pt x="4" y="5"/>
                        <a:pt x="4" y="4"/>
                      </a:cubicBezTo>
                      <a:cubicBezTo>
                        <a:pt x="3" y="2"/>
                        <a:pt x="1" y="1"/>
                        <a:pt x="0" y="0"/>
                      </a:cubicBezTo>
                    </a:path>
                  </a:pathLst>
                </a:custGeom>
                <a:solidFill>
                  <a:srgbClr val="72707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0" name="Freeform 76"/>
                <p:cNvSpPr>
                  <a:spLocks noEditPoints="1"/>
                </p:cNvSpPr>
                <p:nvPr/>
              </p:nvSpPr>
              <p:spPr bwMode="auto">
                <a:xfrm>
                  <a:off x="2182813" y="2516188"/>
                  <a:ext cx="292100" cy="315913"/>
                </a:xfrm>
                <a:custGeom>
                  <a:avLst/>
                  <a:gdLst>
                    <a:gd name="T0" fmla="*/ 27 w 60"/>
                    <a:gd name="T1" fmla="*/ 64 h 65"/>
                    <a:gd name="T2" fmla="*/ 34 w 60"/>
                    <a:gd name="T3" fmla="*/ 65 h 65"/>
                    <a:gd name="T4" fmla="*/ 31 w 60"/>
                    <a:gd name="T5" fmla="*/ 64 h 65"/>
                    <a:gd name="T6" fmla="*/ 31 w 60"/>
                    <a:gd name="T7" fmla="*/ 64 h 65"/>
                    <a:gd name="T8" fmla="*/ 30 w 60"/>
                    <a:gd name="T9" fmla="*/ 64 h 65"/>
                    <a:gd name="T10" fmla="*/ 27 w 60"/>
                    <a:gd name="T11" fmla="*/ 64 h 65"/>
                    <a:gd name="T12" fmla="*/ 27 w 60"/>
                    <a:gd name="T13" fmla="*/ 64 h 65"/>
                    <a:gd name="T14" fmla="*/ 27 w 60"/>
                    <a:gd name="T15" fmla="*/ 64 h 65"/>
                    <a:gd name="T16" fmla="*/ 27 w 60"/>
                    <a:gd name="T17" fmla="*/ 64 h 65"/>
                    <a:gd name="T18" fmla="*/ 42 w 60"/>
                    <a:gd name="T19" fmla="*/ 2 h 65"/>
                    <a:gd name="T20" fmla="*/ 34 w 60"/>
                    <a:gd name="T21" fmla="*/ 65 h 65"/>
                    <a:gd name="T22" fmla="*/ 37 w 60"/>
                    <a:gd name="T23" fmla="*/ 65 h 65"/>
                    <a:gd name="T24" fmla="*/ 58 w 60"/>
                    <a:gd name="T25" fmla="*/ 35 h 65"/>
                    <a:gd name="T26" fmla="*/ 58 w 60"/>
                    <a:gd name="T27" fmla="*/ 35 h 65"/>
                    <a:gd name="T28" fmla="*/ 59 w 60"/>
                    <a:gd name="T29" fmla="*/ 17 h 65"/>
                    <a:gd name="T30" fmla="*/ 59 w 60"/>
                    <a:gd name="T31" fmla="*/ 17 h 65"/>
                    <a:gd name="T32" fmla="*/ 59 w 60"/>
                    <a:gd name="T33" fmla="*/ 17 h 65"/>
                    <a:gd name="T34" fmla="*/ 55 w 60"/>
                    <a:gd name="T35" fmla="*/ 11 h 65"/>
                    <a:gd name="T36" fmla="*/ 42 w 60"/>
                    <a:gd name="T37" fmla="*/ 2 h 65"/>
                    <a:gd name="T38" fmla="*/ 25 w 60"/>
                    <a:gd name="T39" fmla="*/ 0 h 65"/>
                    <a:gd name="T40" fmla="*/ 6 w 60"/>
                    <a:gd name="T41" fmla="*/ 8 h 65"/>
                    <a:gd name="T42" fmla="*/ 6 w 60"/>
                    <a:gd name="T43" fmla="*/ 8 h 65"/>
                    <a:gd name="T44" fmla="*/ 6 w 60"/>
                    <a:gd name="T45" fmla="*/ 8 h 65"/>
                    <a:gd name="T46" fmla="*/ 6 w 60"/>
                    <a:gd name="T47" fmla="*/ 8 h 65"/>
                    <a:gd name="T48" fmla="*/ 3 w 60"/>
                    <a:gd name="T49" fmla="*/ 19 h 65"/>
                    <a:gd name="T50" fmla="*/ 1 w 60"/>
                    <a:gd name="T51" fmla="*/ 28 h 65"/>
                    <a:gd name="T52" fmla="*/ 0 w 60"/>
                    <a:gd name="T53" fmla="*/ 40 h 65"/>
                    <a:gd name="T54" fmla="*/ 0 w 60"/>
                    <a:gd name="T55" fmla="*/ 40 h 65"/>
                    <a:gd name="T56" fmla="*/ 2 w 60"/>
                    <a:gd name="T57" fmla="*/ 50 h 65"/>
                    <a:gd name="T58" fmla="*/ 20 w 60"/>
                    <a:gd name="T59" fmla="*/ 62 h 65"/>
                    <a:gd name="T60" fmla="*/ 17 w 60"/>
                    <a:gd name="T61" fmla="*/ 61 h 65"/>
                    <a:gd name="T62" fmla="*/ 25 w 60"/>
                    <a:gd name="T63" fmla="*/ 0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0" h="65">
                      <a:moveTo>
                        <a:pt x="27" y="64"/>
                      </a:moveTo>
                      <a:cubicBezTo>
                        <a:pt x="30" y="64"/>
                        <a:pt x="32" y="64"/>
                        <a:pt x="34" y="65"/>
                      </a:cubicBezTo>
                      <a:cubicBezTo>
                        <a:pt x="33" y="65"/>
                        <a:pt x="32" y="64"/>
                        <a:pt x="31" y="64"/>
                      </a:cubicBezTo>
                      <a:cubicBezTo>
                        <a:pt x="31" y="64"/>
                        <a:pt x="31" y="64"/>
                        <a:pt x="31" y="64"/>
                      </a:cubicBezTo>
                      <a:cubicBezTo>
                        <a:pt x="31" y="64"/>
                        <a:pt x="31" y="64"/>
                        <a:pt x="30" y="64"/>
                      </a:cubicBezTo>
                      <a:cubicBezTo>
                        <a:pt x="29" y="64"/>
                        <a:pt x="28" y="64"/>
                        <a:pt x="27" y="64"/>
                      </a:cubicBezTo>
                      <a:moveTo>
                        <a:pt x="27" y="64"/>
                      </a:move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moveTo>
                        <a:pt x="42" y="2"/>
                      </a:moveTo>
                      <a:cubicBezTo>
                        <a:pt x="34" y="65"/>
                        <a:pt x="34" y="65"/>
                        <a:pt x="34" y="65"/>
                      </a:cubicBezTo>
                      <a:cubicBezTo>
                        <a:pt x="35" y="65"/>
                        <a:pt x="36" y="65"/>
                        <a:pt x="37" y="65"/>
                      </a:cubicBezTo>
                      <a:cubicBezTo>
                        <a:pt x="51" y="65"/>
                        <a:pt x="54" y="57"/>
                        <a:pt x="58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28"/>
                        <a:pt x="60" y="22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8" y="15"/>
                        <a:pt x="56" y="13"/>
                        <a:pt x="55" y="11"/>
                      </a:cubicBezTo>
                      <a:cubicBezTo>
                        <a:pt x="51" y="7"/>
                        <a:pt x="47" y="4"/>
                        <a:pt x="42" y="2"/>
                      </a:cubicBezTo>
                      <a:moveTo>
                        <a:pt x="25" y="0"/>
                      </a:moveTo>
                      <a:cubicBezTo>
                        <a:pt x="17" y="1"/>
                        <a:pt x="11" y="4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5" y="11"/>
                        <a:pt x="4" y="15"/>
                        <a:pt x="3" y="19"/>
                      </a:cubicBezTo>
                      <a:cubicBezTo>
                        <a:pt x="2" y="22"/>
                        <a:pt x="1" y="25"/>
                        <a:pt x="1" y="28"/>
                      </a:cubicBezTo>
                      <a:cubicBezTo>
                        <a:pt x="0" y="32"/>
                        <a:pt x="0" y="36"/>
                        <a:pt x="0" y="40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4"/>
                        <a:pt x="0" y="47"/>
                        <a:pt x="2" y="50"/>
                      </a:cubicBezTo>
                      <a:cubicBezTo>
                        <a:pt x="4" y="56"/>
                        <a:pt x="10" y="60"/>
                        <a:pt x="20" y="62"/>
                      </a:cubicBezTo>
                      <a:cubicBezTo>
                        <a:pt x="19" y="62"/>
                        <a:pt x="18" y="62"/>
                        <a:pt x="17" y="61"/>
                      </a:cubicBezTo>
                      <a:cubicBezTo>
                        <a:pt x="25" y="0"/>
                        <a:pt x="25" y="0"/>
                        <a:pt x="25" y="0"/>
                      </a:cubicBezTo>
                    </a:path>
                  </a:pathLst>
                </a:custGeom>
                <a:solidFill>
                  <a:srgbClr val="E8CD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1" name="Freeform 77"/>
                <p:cNvSpPr>
                  <a:spLocks/>
                </p:cNvSpPr>
                <p:nvPr/>
              </p:nvSpPr>
              <p:spPr bwMode="auto">
                <a:xfrm>
                  <a:off x="2157413" y="2555876"/>
                  <a:ext cx="322263" cy="287338"/>
                </a:xfrm>
                <a:custGeom>
                  <a:avLst/>
                  <a:gdLst>
                    <a:gd name="T0" fmla="*/ 11 w 66"/>
                    <a:gd name="T1" fmla="*/ 0 h 59"/>
                    <a:gd name="T2" fmla="*/ 8 w 66"/>
                    <a:gd name="T3" fmla="*/ 2 h 59"/>
                    <a:gd name="T4" fmla="*/ 4 w 66"/>
                    <a:gd name="T5" fmla="*/ 20 h 59"/>
                    <a:gd name="T6" fmla="*/ 30 w 66"/>
                    <a:gd name="T7" fmla="*/ 57 h 59"/>
                    <a:gd name="T8" fmla="*/ 42 w 66"/>
                    <a:gd name="T9" fmla="*/ 59 h 59"/>
                    <a:gd name="T10" fmla="*/ 43 w 66"/>
                    <a:gd name="T11" fmla="*/ 59 h 59"/>
                    <a:gd name="T12" fmla="*/ 65 w 66"/>
                    <a:gd name="T13" fmla="*/ 27 h 59"/>
                    <a:gd name="T14" fmla="*/ 66 w 66"/>
                    <a:gd name="T15" fmla="*/ 13 h 59"/>
                    <a:gd name="T16" fmla="*/ 64 w 66"/>
                    <a:gd name="T17" fmla="*/ 9 h 59"/>
                    <a:gd name="T18" fmla="*/ 65 w 66"/>
                    <a:gd name="T19" fmla="*/ 14 h 59"/>
                    <a:gd name="T20" fmla="*/ 65 w 66"/>
                    <a:gd name="T21" fmla="*/ 15 h 59"/>
                    <a:gd name="T22" fmla="*/ 63 w 66"/>
                    <a:gd name="T23" fmla="*/ 27 h 59"/>
                    <a:gd name="T24" fmla="*/ 63 w 66"/>
                    <a:gd name="T25" fmla="*/ 27 h 59"/>
                    <a:gd name="T26" fmla="*/ 42 w 66"/>
                    <a:gd name="T27" fmla="*/ 57 h 59"/>
                    <a:gd name="T28" fmla="*/ 42 w 66"/>
                    <a:gd name="T29" fmla="*/ 57 h 59"/>
                    <a:gd name="T30" fmla="*/ 42 w 66"/>
                    <a:gd name="T31" fmla="*/ 57 h 59"/>
                    <a:gd name="T32" fmla="*/ 39 w 66"/>
                    <a:gd name="T33" fmla="*/ 57 h 59"/>
                    <a:gd name="T34" fmla="*/ 39 w 66"/>
                    <a:gd name="T35" fmla="*/ 57 h 59"/>
                    <a:gd name="T36" fmla="*/ 39 w 66"/>
                    <a:gd name="T37" fmla="*/ 57 h 59"/>
                    <a:gd name="T38" fmla="*/ 32 w 66"/>
                    <a:gd name="T39" fmla="*/ 56 h 59"/>
                    <a:gd name="T40" fmla="*/ 32 w 66"/>
                    <a:gd name="T41" fmla="*/ 56 h 59"/>
                    <a:gd name="T42" fmla="*/ 30 w 66"/>
                    <a:gd name="T43" fmla="*/ 55 h 59"/>
                    <a:gd name="T44" fmla="*/ 29 w 66"/>
                    <a:gd name="T45" fmla="*/ 55 h 59"/>
                    <a:gd name="T46" fmla="*/ 26 w 66"/>
                    <a:gd name="T47" fmla="*/ 54 h 59"/>
                    <a:gd name="T48" fmla="*/ 26 w 66"/>
                    <a:gd name="T49" fmla="*/ 54 h 59"/>
                    <a:gd name="T50" fmla="*/ 26 w 66"/>
                    <a:gd name="T51" fmla="*/ 54 h 59"/>
                    <a:gd name="T52" fmla="*/ 7 w 66"/>
                    <a:gd name="T53" fmla="*/ 42 h 59"/>
                    <a:gd name="T54" fmla="*/ 6 w 66"/>
                    <a:gd name="T55" fmla="*/ 20 h 59"/>
                    <a:gd name="T56" fmla="*/ 8 w 66"/>
                    <a:gd name="T57" fmla="*/ 11 h 59"/>
                    <a:gd name="T58" fmla="*/ 11 w 66"/>
                    <a:gd name="T59" fmla="*/ 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6" h="59">
                      <a:moveTo>
                        <a:pt x="11" y="0"/>
                      </a:moveTo>
                      <a:cubicBezTo>
                        <a:pt x="10" y="1"/>
                        <a:pt x="9" y="1"/>
                        <a:pt x="8" y="2"/>
                      </a:cubicBezTo>
                      <a:cubicBezTo>
                        <a:pt x="7" y="7"/>
                        <a:pt x="6" y="13"/>
                        <a:pt x="4" y="20"/>
                      </a:cubicBezTo>
                      <a:cubicBezTo>
                        <a:pt x="0" y="43"/>
                        <a:pt x="5" y="53"/>
                        <a:pt x="30" y="57"/>
                      </a:cubicBezTo>
                      <a:cubicBezTo>
                        <a:pt x="35" y="58"/>
                        <a:pt x="39" y="59"/>
                        <a:pt x="42" y="59"/>
                      </a:cubicBezTo>
                      <a:cubicBezTo>
                        <a:pt x="43" y="59"/>
                        <a:pt x="43" y="59"/>
                        <a:pt x="43" y="59"/>
                      </a:cubicBezTo>
                      <a:cubicBezTo>
                        <a:pt x="57" y="58"/>
                        <a:pt x="61" y="50"/>
                        <a:pt x="65" y="27"/>
                      </a:cubicBezTo>
                      <a:cubicBezTo>
                        <a:pt x="66" y="22"/>
                        <a:pt x="66" y="17"/>
                        <a:pt x="66" y="13"/>
                      </a:cubicBezTo>
                      <a:cubicBezTo>
                        <a:pt x="66" y="12"/>
                        <a:pt x="65" y="11"/>
                        <a:pt x="64" y="9"/>
                      </a:cubicBezTo>
                      <a:cubicBezTo>
                        <a:pt x="64" y="11"/>
                        <a:pt x="65" y="13"/>
                        <a:pt x="65" y="14"/>
                      </a:cubicBezTo>
                      <a:cubicBezTo>
                        <a:pt x="65" y="15"/>
                        <a:pt x="65" y="15"/>
                        <a:pt x="65" y="15"/>
                      </a:cubicBezTo>
                      <a:cubicBezTo>
                        <a:pt x="65" y="18"/>
                        <a:pt x="64" y="22"/>
                        <a:pt x="63" y="2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59" y="49"/>
                        <a:pt x="56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1" y="57"/>
                        <a:pt x="40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7" y="56"/>
                        <a:pt x="35" y="56"/>
                        <a:pt x="32" y="56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1" y="56"/>
                        <a:pt x="31" y="55"/>
                        <a:pt x="30" y="55"/>
                      </a:cubicBezTo>
                      <a:cubicBezTo>
                        <a:pt x="30" y="55"/>
                        <a:pt x="30" y="55"/>
                        <a:pt x="29" y="55"/>
                      </a:cubicBezTo>
                      <a:cubicBezTo>
                        <a:pt x="28" y="55"/>
                        <a:pt x="27" y="55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15" y="52"/>
                        <a:pt x="9" y="48"/>
                        <a:pt x="7" y="42"/>
                      </a:cubicBezTo>
                      <a:cubicBezTo>
                        <a:pt x="4" y="37"/>
                        <a:pt x="4" y="29"/>
                        <a:pt x="6" y="20"/>
                      </a:cubicBezTo>
                      <a:cubicBezTo>
                        <a:pt x="6" y="17"/>
                        <a:pt x="7" y="14"/>
                        <a:pt x="8" y="11"/>
                      </a:cubicBezTo>
                      <a:cubicBezTo>
                        <a:pt x="9" y="7"/>
                        <a:pt x="10" y="3"/>
                        <a:pt x="11" y="0"/>
                      </a:cubicBezTo>
                    </a:path>
                  </a:pathLst>
                </a:custGeom>
                <a:solidFill>
                  <a:srgbClr val="B477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2" name="Freeform 78"/>
                <p:cNvSpPr>
                  <a:spLocks noEditPoints="1"/>
                </p:cNvSpPr>
                <p:nvPr/>
              </p:nvSpPr>
              <p:spPr bwMode="auto">
                <a:xfrm>
                  <a:off x="2192338" y="2555876"/>
                  <a:ext cx="282575" cy="276225"/>
                </a:xfrm>
                <a:custGeom>
                  <a:avLst/>
                  <a:gdLst>
                    <a:gd name="T0" fmla="*/ 32 w 58"/>
                    <a:gd name="T1" fmla="*/ 57 h 57"/>
                    <a:gd name="T2" fmla="*/ 32 w 58"/>
                    <a:gd name="T3" fmla="*/ 57 h 57"/>
                    <a:gd name="T4" fmla="*/ 35 w 58"/>
                    <a:gd name="T5" fmla="*/ 57 h 57"/>
                    <a:gd name="T6" fmla="*/ 35 w 58"/>
                    <a:gd name="T7" fmla="*/ 57 h 57"/>
                    <a:gd name="T8" fmla="*/ 32 w 58"/>
                    <a:gd name="T9" fmla="*/ 57 h 57"/>
                    <a:gd name="T10" fmla="*/ 25 w 58"/>
                    <a:gd name="T11" fmla="*/ 56 h 57"/>
                    <a:gd name="T12" fmla="*/ 32 w 58"/>
                    <a:gd name="T13" fmla="*/ 57 h 57"/>
                    <a:gd name="T14" fmla="*/ 32 w 58"/>
                    <a:gd name="T15" fmla="*/ 57 h 57"/>
                    <a:gd name="T16" fmla="*/ 25 w 58"/>
                    <a:gd name="T17" fmla="*/ 56 h 57"/>
                    <a:gd name="T18" fmla="*/ 25 w 58"/>
                    <a:gd name="T19" fmla="*/ 56 h 57"/>
                    <a:gd name="T20" fmla="*/ 25 w 58"/>
                    <a:gd name="T21" fmla="*/ 56 h 57"/>
                    <a:gd name="T22" fmla="*/ 25 w 58"/>
                    <a:gd name="T23" fmla="*/ 56 h 57"/>
                    <a:gd name="T24" fmla="*/ 25 w 58"/>
                    <a:gd name="T25" fmla="*/ 56 h 57"/>
                    <a:gd name="T26" fmla="*/ 25 w 58"/>
                    <a:gd name="T27" fmla="*/ 56 h 57"/>
                    <a:gd name="T28" fmla="*/ 25 w 58"/>
                    <a:gd name="T29" fmla="*/ 56 h 57"/>
                    <a:gd name="T30" fmla="*/ 19 w 58"/>
                    <a:gd name="T31" fmla="*/ 54 h 57"/>
                    <a:gd name="T32" fmla="*/ 19 w 58"/>
                    <a:gd name="T33" fmla="*/ 54 h 57"/>
                    <a:gd name="T34" fmla="*/ 19 w 58"/>
                    <a:gd name="T35" fmla="*/ 54 h 57"/>
                    <a:gd name="T36" fmla="*/ 0 w 58"/>
                    <a:gd name="T37" fmla="*/ 42 h 57"/>
                    <a:gd name="T38" fmla="*/ 19 w 58"/>
                    <a:gd name="T39" fmla="*/ 54 h 57"/>
                    <a:gd name="T40" fmla="*/ 18 w 58"/>
                    <a:gd name="T41" fmla="*/ 54 h 57"/>
                    <a:gd name="T42" fmla="*/ 0 w 58"/>
                    <a:gd name="T43" fmla="*/ 42 h 57"/>
                    <a:gd name="T44" fmla="*/ 57 w 58"/>
                    <a:gd name="T45" fmla="*/ 9 h 57"/>
                    <a:gd name="T46" fmla="*/ 56 w 58"/>
                    <a:gd name="T47" fmla="*/ 27 h 57"/>
                    <a:gd name="T48" fmla="*/ 56 w 58"/>
                    <a:gd name="T49" fmla="*/ 27 h 57"/>
                    <a:gd name="T50" fmla="*/ 56 w 58"/>
                    <a:gd name="T51" fmla="*/ 27 h 57"/>
                    <a:gd name="T52" fmla="*/ 58 w 58"/>
                    <a:gd name="T53" fmla="*/ 15 h 57"/>
                    <a:gd name="T54" fmla="*/ 58 w 58"/>
                    <a:gd name="T55" fmla="*/ 14 h 57"/>
                    <a:gd name="T56" fmla="*/ 57 w 58"/>
                    <a:gd name="T57" fmla="*/ 9 h 57"/>
                    <a:gd name="T58" fmla="*/ 57 w 58"/>
                    <a:gd name="T59" fmla="*/ 9 h 57"/>
                    <a:gd name="T60" fmla="*/ 4 w 58"/>
                    <a:gd name="T61" fmla="*/ 0 h 57"/>
                    <a:gd name="T62" fmla="*/ 4 w 58"/>
                    <a:gd name="T63" fmla="*/ 0 h 57"/>
                    <a:gd name="T64" fmla="*/ 4 w 58"/>
                    <a:gd name="T65" fmla="*/ 0 h 57"/>
                    <a:gd name="T66" fmla="*/ 1 w 58"/>
                    <a:gd name="T67" fmla="*/ 11 h 57"/>
                    <a:gd name="T68" fmla="*/ 4 w 58"/>
                    <a:gd name="T69" fmla="*/ 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8" h="57">
                      <a:moveTo>
                        <a:pt x="32" y="57"/>
                      </a:move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3" y="57"/>
                        <a:pt x="34" y="57"/>
                        <a:pt x="35" y="57"/>
                      </a:cubicBezTo>
                      <a:cubicBezTo>
                        <a:pt x="35" y="57"/>
                        <a:pt x="35" y="57"/>
                        <a:pt x="35" y="57"/>
                      </a:cubicBezTo>
                      <a:cubicBezTo>
                        <a:pt x="34" y="57"/>
                        <a:pt x="33" y="57"/>
                        <a:pt x="32" y="57"/>
                      </a:cubicBezTo>
                      <a:moveTo>
                        <a:pt x="25" y="56"/>
                      </a:moveTo>
                      <a:cubicBezTo>
                        <a:pt x="28" y="56"/>
                        <a:pt x="30" y="56"/>
                        <a:pt x="32" y="57"/>
                      </a:cubicBez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0" y="56"/>
                        <a:pt x="28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moveTo>
                        <a:pt x="19" y="54"/>
                      </a:moveTo>
                      <a:cubicBezTo>
                        <a:pt x="19" y="54"/>
                        <a:pt x="19" y="54"/>
                        <a:pt x="19" y="54"/>
                      </a:cubicBezTo>
                      <a:cubicBezTo>
                        <a:pt x="19" y="54"/>
                        <a:pt x="19" y="54"/>
                        <a:pt x="19" y="54"/>
                      </a:cubicBezTo>
                      <a:moveTo>
                        <a:pt x="0" y="42"/>
                      </a:moveTo>
                      <a:cubicBezTo>
                        <a:pt x="2" y="48"/>
                        <a:pt x="8" y="52"/>
                        <a:pt x="19" y="54"/>
                      </a:cubicBezTo>
                      <a:cubicBezTo>
                        <a:pt x="18" y="54"/>
                        <a:pt x="18" y="54"/>
                        <a:pt x="18" y="54"/>
                      </a:cubicBezTo>
                      <a:cubicBezTo>
                        <a:pt x="8" y="52"/>
                        <a:pt x="2" y="48"/>
                        <a:pt x="0" y="42"/>
                      </a:cubicBezTo>
                      <a:moveTo>
                        <a:pt x="57" y="9"/>
                      </a:moveTo>
                      <a:cubicBezTo>
                        <a:pt x="58" y="14"/>
                        <a:pt x="58" y="20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7" y="22"/>
                        <a:pt x="58" y="18"/>
                        <a:pt x="58" y="15"/>
                      </a:cubicBezTo>
                      <a:cubicBezTo>
                        <a:pt x="58" y="14"/>
                        <a:pt x="58" y="14"/>
                        <a:pt x="58" y="14"/>
                      </a:cubicBezTo>
                      <a:cubicBezTo>
                        <a:pt x="58" y="13"/>
                        <a:pt x="57" y="11"/>
                        <a:pt x="57" y="9"/>
                      </a:cubicBezTo>
                      <a:cubicBezTo>
                        <a:pt x="57" y="9"/>
                        <a:pt x="57" y="9"/>
                        <a:pt x="57" y="9"/>
                      </a:cubicBezTo>
                      <a:moveTo>
                        <a:pt x="4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"/>
                        <a:pt x="2" y="7"/>
                        <a:pt x="1" y="11"/>
                      </a:cubicBezTo>
                      <a:cubicBezTo>
                        <a:pt x="2" y="7"/>
                        <a:pt x="3" y="3"/>
                        <a:pt x="4" y="0"/>
                      </a:cubicBezTo>
                    </a:path>
                  </a:pathLst>
                </a:custGeom>
                <a:solidFill>
                  <a:srgbClr val="BD8B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3" name="Freeform 79"/>
                <p:cNvSpPr>
                  <a:spLocks/>
                </p:cNvSpPr>
                <p:nvPr/>
              </p:nvSpPr>
              <p:spPr bwMode="auto">
                <a:xfrm>
                  <a:off x="1870076" y="3154363"/>
                  <a:ext cx="536575" cy="730250"/>
                </a:xfrm>
                <a:custGeom>
                  <a:avLst/>
                  <a:gdLst>
                    <a:gd name="T0" fmla="*/ 45 w 110"/>
                    <a:gd name="T1" fmla="*/ 0 h 150"/>
                    <a:gd name="T2" fmla="*/ 39 w 110"/>
                    <a:gd name="T3" fmla="*/ 14 h 150"/>
                    <a:gd name="T4" fmla="*/ 10 w 110"/>
                    <a:gd name="T5" fmla="*/ 113 h 150"/>
                    <a:gd name="T6" fmla="*/ 0 w 110"/>
                    <a:gd name="T7" fmla="*/ 139 h 150"/>
                    <a:gd name="T8" fmla="*/ 0 w 110"/>
                    <a:gd name="T9" fmla="*/ 139 h 150"/>
                    <a:gd name="T10" fmla="*/ 8 w 110"/>
                    <a:gd name="T11" fmla="*/ 150 h 150"/>
                    <a:gd name="T12" fmla="*/ 20 w 110"/>
                    <a:gd name="T13" fmla="*/ 144 h 150"/>
                    <a:gd name="T14" fmla="*/ 55 w 110"/>
                    <a:gd name="T15" fmla="*/ 108 h 150"/>
                    <a:gd name="T16" fmla="*/ 69 w 110"/>
                    <a:gd name="T17" fmla="*/ 111 h 150"/>
                    <a:gd name="T18" fmla="*/ 94 w 110"/>
                    <a:gd name="T19" fmla="*/ 118 h 150"/>
                    <a:gd name="T20" fmla="*/ 101 w 110"/>
                    <a:gd name="T21" fmla="*/ 101 h 150"/>
                    <a:gd name="T22" fmla="*/ 108 w 110"/>
                    <a:gd name="T23" fmla="*/ 17 h 150"/>
                    <a:gd name="T24" fmla="*/ 110 w 110"/>
                    <a:gd name="T25" fmla="*/ 11 h 150"/>
                    <a:gd name="T26" fmla="*/ 110 w 110"/>
                    <a:gd name="T27" fmla="*/ 11 h 150"/>
                    <a:gd name="T28" fmla="*/ 106 w 110"/>
                    <a:gd name="T29" fmla="*/ 8 h 150"/>
                    <a:gd name="T30" fmla="*/ 74 w 110"/>
                    <a:gd name="T31" fmla="*/ 12 h 150"/>
                    <a:gd name="T32" fmla="*/ 45 w 110"/>
                    <a:gd name="T33" fmla="*/ 0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0" h="150">
                      <a:moveTo>
                        <a:pt x="45" y="0"/>
                      </a:moveTo>
                      <a:cubicBezTo>
                        <a:pt x="42" y="0"/>
                        <a:pt x="40" y="3"/>
                        <a:pt x="39" y="14"/>
                      </a:cubicBezTo>
                      <a:cubicBezTo>
                        <a:pt x="36" y="45"/>
                        <a:pt x="30" y="79"/>
                        <a:pt x="10" y="113"/>
                      </a:cubicBezTo>
                      <a:cubicBezTo>
                        <a:pt x="3" y="124"/>
                        <a:pt x="0" y="133"/>
                        <a:pt x="0" y="139"/>
                      </a:cubicBezTo>
                      <a:cubicBezTo>
                        <a:pt x="0" y="139"/>
                        <a:pt x="0" y="139"/>
                        <a:pt x="0" y="139"/>
                      </a:cubicBezTo>
                      <a:cubicBezTo>
                        <a:pt x="0" y="146"/>
                        <a:pt x="3" y="150"/>
                        <a:pt x="8" y="150"/>
                      </a:cubicBezTo>
                      <a:cubicBezTo>
                        <a:pt x="11" y="150"/>
                        <a:pt x="16" y="148"/>
                        <a:pt x="20" y="144"/>
                      </a:cubicBezTo>
                      <a:cubicBezTo>
                        <a:pt x="32" y="131"/>
                        <a:pt x="35" y="108"/>
                        <a:pt x="55" y="108"/>
                      </a:cubicBezTo>
                      <a:cubicBezTo>
                        <a:pt x="58" y="108"/>
                        <a:pt x="63" y="109"/>
                        <a:pt x="69" y="111"/>
                      </a:cubicBezTo>
                      <a:cubicBezTo>
                        <a:pt x="81" y="116"/>
                        <a:pt x="89" y="118"/>
                        <a:pt x="94" y="118"/>
                      </a:cubicBezTo>
                      <a:cubicBezTo>
                        <a:pt x="103" y="118"/>
                        <a:pt x="104" y="112"/>
                        <a:pt x="101" y="101"/>
                      </a:cubicBezTo>
                      <a:cubicBezTo>
                        <a:pt x="97" y="83"/>
                        <a:pt x="100" y="35"/>
                        <a:pt x="108" y="17"/>
                      </a:cubicBezTo>
                      <a:cubicBezTo>
                        <a:pt x="110" y="14"/>
                        <a:pt x="110" y="13"/>
                        <a:pt x="110" y="11"/>
                      </a:cubicBezTo>
                      <a:cubicBezTo>
                        <a:pt x="110" y="11"/>
                        <a:pt x="110" y="11"/>
                        <a:pt x="110" y="11"/>
                      </a:cubicBezTo>
                      <a:cubicBezTo>
                        <a:pt x="110" y="9"/>
                        <a:pt x="109" y="8"/>
                        <a:pt x="106" y="8"/>
                      </a:cubicBezTo>
                      <a:cubicBezTo>
                        <a:pt x="99" y="8"/>
                        <a:pt x="87" y="12"/>
                        <a:pt x="74" y="12"/>
                      </a:cubicBezTo>
                      <a:cubicBezTo>
                        <a:pt x="61" y="12"/>
                        <a:pt x="51" y="0"/>
                        <a:pt x="45" y="0"/>
                      </a:cubicBezTo>
                    </a:path>
                  </a:pathLst>
                </a:custGeom>
                <a:solidFill>
                  <a:srgbClr val="DBAB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4" name="Freeform 80"/>
                <p:cNvSpPr>
                  <a:spLocks/>
                </p:cNvSpPr>
                <p:nvPr/>
              </p:nvSpPr>
              <p:spPr bwMode="auto">
                <a:xfrm>
                  <a:off x="1874838" y="4546601"/>
                  <a:ext cx="584200" cy="1465263"/>
                </a:xfrm>
                <a:custGeom>
                  <a:avLst/>
                  <a:gdLst>
                    <a:gd name="T0" fmla="*/ 120 w 120"/>
                    <a:gd name="T1" fmla="*/ 0 h 301"/>
                    <a:gd name="T2" fmla="*/ 120 w 120"/>
                    <a:gd name="T3" fmla="*/ 0 h 301"/>
                    <a:gd name="T4" fmla="*/ 69 w 120"/>
                    <a:gd name="T5" fmla="*/ 86 h 301"/>
                    <a:gd name="T6" fmla="*/ 1 w 120"/>
                    <a:gd name="T7" fmla="*/ 275 h 301"/>
                    <a:gd name="T8" fmla="*/ 0 w 120"/>
                    <a:gd name="T9" fmla="*/ 301 h 301"/>
                    <a:gd name="T10" fmla="*/ 31 w 120"/>
                    <a:gd name="T11" fmla="*/ 301 h 301"/>
                    <a:gd name="T12" fmla="*/ 62 w 120"/>
                    <a:gd name="T13" fmla="*/ 169 h 301"/>
                    <a:gd name="T14" fmla="*/ 119 w 120"/>
                    <a:gd name="T15" fmla="*/ 3 h 301"/>
                    <a:gd name="T16" fmla="*/ 120 w 120"/>
                    <a:gd name="T17" fmla="*/ 1 h 301"/>
                    <a:gd name="T18" fmla="*/ 120 w 120"/>
                    <a:gd name="T19" fmla="*/ 0 h 301"/>
                    <a:gd name="T20" fmla="*/ 120 w 120"/>
                    <a:gd name="T21" fmla="*/ 0 h 3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0" h="301">
                      <a:moveTo>
                        <a:pt x="120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18" y="1"/>
                        <a:pt x="92" y="51"/>
                        <a:pt x="69" y="86"/>
                      </a:cubicBezTo>
                      <a:cubicBezTo>
                        <a:pt x="43" y="126"/>
                        <a:pt x="9" y="188"/>
                        <a:pt x="1" y="275"/>
                      </a:cubicBezTo>
                      <a:cubicBezTo>
                        <a:pt x="1" y="283"/>
                        <a:pt x="0" y="292"/>
                        <a:pt x="0" y="301"/>
                      </a:cubicBezTo>
                      <a:cubicBezTo>
                        <a:pt x="31" y="301"/>
                        <a:pt x="31" y="301"/>
                        <a:pt x="31" y="301"/>
                      </a:cubicBezTo>
                      <a:cubicBezTo>
                        <a:pt x="38" y="229"/>
                        <a:pt x="52" y="204"/>
                        <a:pt x="62" y="169"/>
                      </a:cubicBezTo>
                      <a:cubicBezTo>
                        <a:pt x="73" y="124"/>
                        <a:pt x="116" y="30"/>
                        <a:pt x="119" y="3"/>
                      </a:cubicBezTo>
                      <a:cubicBezTo>
                        <a:pt x="120" y="2"/>
                        <a:pt x="120" y="1"/>
                        <a:pt x="120" y="1"/>
                      </a:cubicBez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0"/>
                        <a:pt x="120" y="0"/>
                        <a:pt x="120" y="0"/>
                      </a:cubicBezTo>
                    </a:path>
                  </a:pathLst>
                </a:custGeom>
                <a:solidFill>
                  <a:srgbClr val="E0B2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5" name="Freeform 8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1 w 3"/>
                    <a:gd name="T3" fmla="*/ 0 h 1"/>
                    <a:gd name="T4" fmla="*/ 3 w 3"/>
                    <a:gd name="T5" fmla="*/ 1 h 1"/>
                    <a:gd name="T6" fmla="*/ 1 w 3"/>
                    <a:gd name="T7" fmla="*/ 0 h 1"/>
                    <a:gd name="T8" fmla="*/ 1 w 3"/>
                    <a:gd name="T9" fmla="*/ 0 h 1"/>
                    <a:gd name="T10" fmla="*/ 1 w 3"/>
                    <a:gd name="T11" fmla="*/ 0 h 1"/>
                    <a:gd name="T12" fmla="*/ 1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6" name="Freeform 82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3 w 3"/>
                    <a:gd name="T3" fmla="*/ 3 w 3"/>
                    <a:gd name="T4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7" name="Freeform 83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9525" cy="0"/>
                </a:xfrm>
                <a:custGeom>
                  <a:avLst/>
                  <a:gdLst>
                    <a:gd name="T0" fmla="*/ 1 w 2"/>
                    <a:gd name="T1" fmla="*/ 2 w 2"/>
                    <a:gd name="T2" fmla="*/ 2 w 2"/>
                    <a:gd name="T3" fmla="*/ 1 w 2"/>
                    <a:gd name="T4" fmla="*/ 0 w 2"/>
                    <a:gd name="T5" fmla="*/ 1 w 2"/>
                    <a:gd name="T6" fmla="*/ 0 w 2"/>
                    <a:gd name="T7" fmla="*/ 0 w 2"/>
                    <a:gd name="T8" fmla="*/ 0 w 2"/>
                    <a:gd name="T9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2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8" name="Freeform 84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  <a:gd name="T3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9" name="Freeform 8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0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0" name="Freeform 8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0 w 3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1" name="Freeform 87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2" name="Freeform 8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3" name="Freeform 89"/>
                <p:cNvSpPr>
                  <a:spLocks/>
                </p:cNvSpPr>
                <p:nvPr/>
              </p:nvSpPr>
              <p:spPr bwMode="auto">
                <a:xfrm>
                  <a:off x="2303463" y="2822576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2 w 2"/>
                    <a:gd name="T5" fmla="*/ 1 h 1"/>
                    <a:gd name="T6" fmla="*/ 1 w 2"/>
                    <a:gd name="T7" fmla="*/ 0 h 1"/>
                    <a:gd name="T8" fmla="*/ 0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4" name="Freeform 90"/>
                <p:cNvSpPr>
                  <a:spLocks noEditPoints="1"/>
                </p:cNvSpPr>
                <p:nvPr/>
              </p:nvSpPr>
              <p:spPr bwMode="auto">
                <a:xfrm>
                  <a:off x="2303463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  <a:gd name="T4" fmla="*/ 0 w 1"/>
                    <a:gd name="T5" fmla="*/ 0 w 1"/>
                    <a:gd name="T6" fmla="*/ 0 w 1"/>
                    <a:gd name="T7" fmla="*/ 0 w 1"/>
                    <a:gd name="T8" fmla="*/ 0 w 1"/>
                    <a:gd name="T9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5" name="Freeform 91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6" name="Freeform 92"/>
                <p:cNvSpPr>
                  <a:spLocks/>
                </p:cNvSpPr>
                <p:nvPr/>
              </p:nvSpPr>
              <p:spPr bwMode="auto">
                <a:xfrm>
                  <a:off x="2328863" y="2827338"/>
                  <a:ext cx="4763" cy="0"/>
                </a:xfrm>
                <a:custGeom>
                  <a:avLst/>
                  <a:gdLst>
                    <a:gd name="T0" fmla="*/ 0 w 1"/>
                    <a:gd name="T1" fmla="*/ 1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7" name="Freeform 93"/>
                <p:cNvSpPr>
                  <a:spLocks noEditPoints="1"/>
                </p:cNvSpPr>
                <p:nvPr/>
              </p:nvSpPr>
              <p:spPr bwMode="auto">
                <a:xfrm>
                  <a:off x="2338388" y="2497138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  <a:gd name="T5" fmla="*/ 0 h 1"/>
                    <a:gd name="T6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8" name="Freeform 94"/>
                <p:cNvSpPr>
                  <a:spLocks/>
                </p:cNvSpPr>
                <p:nvPr/>
              </p:nvSpPr>
              <p:spPr bwMode="auto">
                <a:xfrm>
                  <a:off x="2303463" y="2497138"/>
                  <a:ext cx="34925" cy="19050"/>
                </a:xfrm>
                <a:custGeom>
                  <a:avLst/>
                  <a:gdLst>
                    <a:gd name="T0" fmla="*/ 1 w 7"/>
                    <a:gd name="T1" fmla="*/ 0 h 4"/>
                    <a:gd name="T2" fmla="*/ 0 w 7"/>
                    <a:gd name="T3" fmla="*/ 0 h 4"/>
                    <a:gd name="T4" fmla="*/ 0 w 7"/>
                    <a:gd name="T5" fmla="*/ 4 h 4"/>
                    <a:gd name="T6" fmla="*/ 3 w 7"/>
                    <a:gd name="T7" fmla="*/ 4 h 4"/>
                    <a:gd name="T8" fmla="*/ 3 w 7"/>
                    <a:gd name="T9" fmla="*/ 0 h 4"/>
                    <a:gd name="T10" fmla="*/ 6 w 7"/>
                    <a:gd name="T11" fmla="*/ 0 h 4"/>
                    <a:gd name="T12" fmla="*/ 6 w 7"/>
                    <a:gd name="T13" fmla="*/ 0 h 4"/>
                    <a:gd name="T14" fmla="*/ 7 w 7"/>
                    <a:gd name="T15" fmla="*/ 0 h 4"/>
                    <a:gd name="T16" fmla="*/ 7 w 7"/>
                    <a:gd name="T17" fmla="*/ 0 h 4"/>
                    <a:gd name="T18" fmla="*/ 7 w 7"/>
                    <a:gd name="T19" fmla="*/ 0 h 4"/>
                    <a:gd name="T20" fmla="*/ 7 w 7"/>
                    <a:gd name="T21" fmla="*/ 0 h 4"/>
                    <a:gd name="T22" fmla="*/ 7 w 7"/>
                    <a:gd name="T23" fmla="*/ 0 h 4"/>
                    <a:gd name="T24" fmla="*/ 1 w 7"/>
                    <a:gd name="T2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" h="4">
                      <a:moveTo>
                        <a:pt x="1" y="0"/>
                      </a:moveTo>
                      <a:cubicBezTo>
                        <a:pt x="1" y="0"/>
                        <a:pt x="1" y="0"/>
                        <a:pt x="0" y="0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1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4" y="0"/>
                        <a:pt x="5" y="0"/>
                        <a:pt x="6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5" y="0"/>
                        <a:pt x="3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9" name="Freeform 95"/>
                <p:cNvSpPr>
                  <a:spLocks/>
                </p:cNvSpPr>
                <p:nvPr/>
              </p:nvSpPr>
              <p:spPr bwMode="auto">
                <a:xfrm>
                  <a:off x="2265363" y="2516188"/>
                  <a:ext cx="52388" cy="306388"/>
                </a:xfrm>
                <a:custGeom>
                  <a:avLst/>
                  <a:gdLst>
                    <a:gd name="T0" fmla="*/ 11 w 11"/>
                    <a:gd name="T1" fmla="*/ 0 h 63"/>
                    <a:gd name="T2" fmla="*/ 8 w 11"/>
                    <a:gd name="T3" fmla="*/ 0 h 63"/>
                    <a:gd name="T4" fmla="*/ 0 w 11"/>
                    <a:gd name="T5" fmla="*/ 61 h 63"/>
                    <a:gd name="T6" fmla="*/ 3 w 11"/>
                    <a:gd name="T7" fmla="*/ 62 h 63"/>
                    <a:gd name="T8" fmla="*/ 6 w 11"/>
                    <a:gd name="T9" fmla="*/ 63 h 63"/>
                    <a:gd name="T10" fmla="*/ 3 w 11"/>
                    <a:gd name="T11" fmla="*/ 62 h 63"/>
                    <a:gd name="T12" fmla="*/ 11 w 11"/>
                    <a:gd name="T13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3">
                      <a:moveTo>
                        <a:pt x="11" y="0"/>
                      </a:moveTo>
                      <a:cubicBezTo>
                        <a:pt x="10" y="0"/>
                        <a:pt x="9" y="0"/>
                        <a:pt x="8" y="0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1" y="62"/>
                        <a:pt x="2" y="62"/>
                        <a:pt x="3" y="62"/>
                      </a:cubicBezTo>
                      <a:cubicBezTo>
                        <a:pt x="4" y="62"/>
                        <a:pt x="5" y="63"/>
                        <a:pt x="6" y="63"/>
                      </a:cubicBezTo>
                      <a:cubicBezTo>
                        <a:pt x="5" y="63"/>
                        <a:pt x="4" y="62"/>
                        <a:pt x="3" y="62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0" name="Freeform 96"/>
                <p:cNvSpPr>
                  <a:spLocks noEditPoints="1"/>
                </p:cNvSpPr>
                <p:nvPr/>
              </p:nvSpPr>
              <p:spPr bwMode="auto">
                <a:xfrm>
                  <a:off x="2284413" y="2817813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1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1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1" name="Freeform 97"/>
                <p:cNvSpPr>
                  <a:spLocks/>
                </p:cNvSpPr>
                <p:nvPr/>
              </p:nvSpPr>
              <p:spPr bwMode="auto">
                <a:xfrm>
                  <a:off x="2279651" y="2817813"/>
                  <a:ext cx="19050" cy="4763"/>
                </a:xfrm>
                <a:custGeom>
                  <a:avLst/>
                  <a:gdLst>
                    <a:gd name="T0" fmla="*/ 0 w 4"/>
                    <a:gd name="T1" fmla="*/ 0 h 1"/>
                    <a:gd name="T2" fmla="*/ 1 w 4"/>
                    <a:gd name="T3" fmla="*/ 0 h 1"/>
                    <a:gd name="T4" fmla="*/ 1 w 4"/>
                    <a:gd name="T5" fmla="*/ 0 h 1"/>
                    <a:gd name="T6" fmla="*/ 1 w 4"/>
                    <a:gd name="T7" fmla="*/ 0 h 1"/>
                    <a:gd name="T8" fmla="*/ 4 w 4"/>
                    <a:gd name="T9" fmla="*/ 1 h 1"/>
                    <a:gd name="T10" fmla="*/ 3 w 4"/>
                    <a:gd name="T11" fmla="*/ 1 h 1"/>
                    <a:gd name="T12" fmla="*/ 0 w 4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1"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1"/>
                        <a:pt x="3" y="1"/>
                        <a:pt x="4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2" name="Freeform 98"/>
                <p:cNvSpPr>
                  <a:spLocks/>
                </p:cNvSpPr>
                <p:nvPr/>
              </p:nvSpPr>
              <p:spPr bwMode="auto">
                <a:xfrm>
                  <a:off x="2371726" y="2506663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1 w 4"/>
                    <a:gd name="T3" fmla="*/ 0 h 4"/>
                    <a:gd name="T4" fmla="*/ 0 w 4"/>
                    <a:gd name="T5" fmla="*/ 3 h 4"/>
                    <a:gd name="T6" fmla="*/ 2 w 4"/>
                    <a:gd name="T7" fmla="*/ 3 h 4"/>
                    <a:gd name="T8" fmla="*/ 3 w 4"/>
                    <a:gd name="T9" fmla="*/ 4 h 4"/>
                    <a:gd name="T10" fmla="*/ 4 w 4"/>
                    <a:gd name="T11" fmla="*/ 1 h 4"/>
                    <a:gd name="T12" fmla="*/ 1 w 4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2" y="3"/>
                        <a:pt x="2" y="3"/>
                      </a:cubicBezTo>
                      <a:cubicBezTo>
                        <a:pt x="3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2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3" name="Freeform 99"/>
                <p:cNvSpPr>
                  <a:spLocks/>
                </p:cNvSpPr>
                <p:nvPr/>
              </p:nvSpPr>
              <p:spPr bwMode="auto">
                <a:xfrm>
                  <a:off x="2381251" y="2520951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1 w 1"/>
                    <a:gd name="T5" fmla="*/ 1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4919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4" name="Freeform 100"/>
                <p:cNvSpPr>
                  <a:spLocks/>
                </p:cNvSpPr>
                <p:nvPr/>
              </p:nvSpPr>
              <p:spPr bwMode="auto">
                <a:xfrm>
                  <a:off x="2333626" y="2520951"/>
                  <a:ext cx="52388" cy="311150"/>
                </a:xfrm>
                <a:custGeom>
                  <a:avLst/>
                  <a:gdLst>
                    <a:gd name="T0" fmla="*/ 8 w 11"/>
                    <a:gd name="T1" fmla="*/ 0 h 64"/>
                    <a:gd name="T2" fmla="*/ 0 w 11"/>
                    <a:gd name="T3" fmla="*/ 63 h 64"/>
                    <a:gd name="T4" fmla="*/ 3 w 11"/>
                    <a:gd name="T5" fmla="*/ 64 h 64"/>
                    <a:gd name="T6" fmla="*/ 3 w 11"/>
                    <a:gd name="T7" fmla="*/ 64 h 64"/>
                    <a:gd name="T8" fmla="*/ 11 w 11"/>
                    <a:gd name="T9" fmla="*/ 1 h 64"/>
                    <a:gd name="T10" fmla="*/ 10 w 11"/>
                    <a:gd name="T11" fmla="*/ 0 h 64"/>
                    <a:gd name="T12" fmla="*/ 8 w 11"/>
                    <a:gd name="T13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1" y="63"/>
                        <a:pt x="2" y="64"/>
                        <a:pt x="3" y="64"/>
                      </a:cubicBezTo>
                      <a:cubicBezTo>
                        <a:pt x="3" y="64"/>
                        <a:pt x="3" y="64"/>
                        <a:pt x="3" y="64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1" y="1"/>
                        <a:pt x="11" y="1"/>
                        <a:pt x="10" y="0"/>
                      </a:cubicBezTo>
                      <a:cubicBezTo>
                        <a:pt x="10" y="0"/>
                        <a:pt x="9" y="0"/>
                        <a:pt x="8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5" name="Freeform 101"/>
                <p:cNvSpPr>
                  <a:spLocks/>
                </p:cNvSpPr>
                <p:nvPr/>
              </p:nvSpPr>
              <p:spPr bwMode="auto">
                <a:xfrm>
                  <a:off x="2347913" y="28321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6" name="Oval 102"/>
                <p:cNvSpPr>
                  <a:spLocks noChangeArrowheads="1"/>
                </p:cNvSpPr>
                <p:nvPr/>
              </p:nvSpPr>
              <p:spPr bwMode="auto">
                <a:xfrm>
                  <a:off x="2347913" y="2832101"/>
                  <a:ext cx="1588" cy="1588"/>
                </a:xfrm>
                <a:prstGeom prst="ellipse">
                  <a:avLst/>
                </a:pr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7" name="Freeform 103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8" name="Freeform 104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9" name="Freeform 105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23813" cy="0"/>
                </a:xfrm>
                <a:custGeom>
                  <a:avLst/>
                  <a:gdLst>
                    <a:gd name="T0" fmla="*/ 5 w 5"/>
                    <a:gd name="T1" fmla="*/ 5 w 5"/>
                    <a:gd name="T2" fmla="*/ 5 w 5"/>
                    <a:gd name="T3" fmla="*/ 5 w 5"/>
                    <a:gd name="T4" fmla="*/ 5 w 5"/>
                    <a:gd name="T5" fmla="*/ 5 w 5"/>
                    <a:gd name="T6" fmla="*/ 1 w 5"/>
                    <a:gd name="T7" fmla="*/ 1 w 5"/>
                    <a:gd name="T8" fmla="*/ 1 w 5"/>
                    <a:gd name="T9" fmla="*/ 0 w 5"/>
                    <a:gd name="T10" fmla="*/ 0 w 5"/>
                    <a:gd name="T11" fmla="*/ 0 w 5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  <a:cxn ang="0">
                      <a:pos x="T10" y="0"/>
                    </a:cxn>
                    <a:cxn ang="0">
                      <a:pos x="T11" y="0"/>
                    </a:cxn>
                  </a:cxnLst>
                  <a:rect l="0" t="0" r="r" b="b"/>
                  <a:pathLst>
                    <a:path w="5">
                      <a:moveTo>
                        <a:pt x="5" y="0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0" name="Freeform 10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1" name="Freeform 107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15875" cy="0"/>
                </a:xfrm>
                <a:custGeom>
                  <a:avLst/>
                  <a:gdLst>
                    <a:gd name="T0" fmla="*/ 0 w 3"/>
                    <a:gd name="T1" fmla="*/ 0 w 3"/>
                    <a:gd name="T2" fmla="*/ 0 w 3"/>
                    <a:gd name="T3" fmla="*/ 0 w 3"/>
                    <a:gd name="T4" fmla="*/ 3 w 3"/>
                    <a:gd name="T5" fmla="*/ 0 w 3"/>
                    <a:gd name="T6" fmla="*/ 0 w 3"/>
                    <a:gd name="T7" fmla="*/ 0 w 3"/>
                    <a:gd name="T8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2" name="Freeform 10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3" name="Freeform 109"/>
                <p:cNvSpPr>
                  <a:spLocks/>
                </p:cNvSpPr>
                <p:nvPr/>
              </p:nvSpPr>
              <p:spPr bwMode="auto">
                <a:xfrm>
                  <a:off x="2317751" y="2497138"/>
                  <a:ext cx="15875" cy="19050"/>
                </a:xfrm>
                <a:custGeom>
                  <a:avLst/>
                  <a:gdLst>
                    <a:gd name="T0" fmla="*/ 0 w 3"/>
                    <a:gd name="T1" fmla="*/ 0 h 4"/>
                    <a:gd name="T2" fmla="*/ 0 w 3"/>
                    <a:gd name="T3" fmla="*/ 4 h 4"/>
                    <a:gd name="T4" fmla="*/ 1 w 3"/>
                    <a:gd name="T5" fmla="*/ 4 h 4"/>
                    <a:gd name="T6" fmla="*/ 3 w 3"/>
                    <a:gd name="T7" fmla="*/ 4 h 4"/>
                    <a:gd name="T8" fmla="*/ 3 w 3"/>
                    <a:gd name="T9" fmla="*/ 0 h 4"/>
                    <a:gd name="T10" fmla="*/ 0 w 3"/>
                    <a:gd name="T11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4"/>
                        <a:pt x="1" y="4"/>
                        <a:pt x="1" y="4"/>
                      </a:cubicBezTo>
                      <a:cubicBezTo>
                        <a:pt x="2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4" name="Freeform 110"/>
                <p:cNvSpPr>
                  <a:spLocks/>
                </p:cNvSpPr>
                <p:nvPr/>
              </p:nvSpPr>
              <p:spPr bwMode="auto">
                <a:xfrm>
                  <a:off x="2279651" y="2516188"/>
                  <a:ext cx="53975" cy="306388"/>
                </a:xfrm>
                <a:custGeom>
                  <a:avLst/>
                  <a:gdLst>
                    <a:gd name="T0" fmla="*/ 9 w 11"/>
                    <a:gd name="T1" fmla="*/ 0 h 63"/>
                    <a:gd name="T2" fmla="*/ 8 w 11"/>
                    <a:gd name="T3" fmla="*/ 0 h 63"/>
                    <a:gd name="T4" fmla="*/ 0 w 11"/>
                    <a:gd name="T5" fmla="*/ 62 h 63"/>
                    <a:gd name="T6" fmla="*/ 3 w 11"/>
                    <a:gd name="T7" fmla="*/ 63 h 63"/>
                    <a:gd name="T8" fmla="*/ 4 w 11"/>
                    <a:gd name="T9" fmla="*/ 63 h 63"/>
                    <a:gd name="T10" fmla="*/ 3 w 11"/>
                    <a:gd name="T11" fmla="*/ 63 h 63"/>
                    <a:gd name="T12" fmla="*/ 3 w 11"/>
                    <a:gd name="T13" fmla="*/ 63 h 63"/>
                    <a:gd name="T14" fmla="*/ 11 w 11"/>
                    <a:gd name="T15" fmla="*/ 0 h 63"/>
                    <a:gd name="T16" fmla="*/ 9 w 11"/>
                    <a:gd name="T17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63">
                      <a:moveTo>
                        <a:pt x="9" y="0"/>
                      </a:moveTo>
                      <a:cubicBezTo>
                        <a:pt x="9" y="0"/>
                        <a:pt x="8" y="0"/>
                        <a:pt x="8" y="0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1" y="62"/>
                        <a:pt x="2" y="63"/>
                        <a:pt x="3" y="63"/>
                      </a:cubicBezTo>
                      <a:cubicBezTo>
                        <a:pt x="3" y="63"/>
                        <a:pt x="3" y="63"/>
                        <a:pt x="4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5" name="Freeform 11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6" name="Oval 112"/>
                <p:cNvSpPr>
                  <a:spLocks noChangeArrowheads="1"/>
                </p:cNvSpPr>
                <p:nvPr/>
              </p:nvSpPr>
              <p:spPr bwMode="auto">
                <a:xfrm>
                  <a:off x="2293938" y="2822576"/>
                  <a:ext cx="4763" cy="1588"/>
                </a:xfrm>
                <a:prstGeom prst="ellipse">
                  <a:avLst/>
                </a:pr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7" name="Freeform 113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1 w 2"/>
                    <a:gd name="T3" fmla="*/ 1 h 1"/>
                    <a:gd name="T4" fmla="*/ 2 w 2"/>
                    <a:gd name="T5" fmla="*/ 1 h 1"/>
                    <a:gd name="T6" fmla="*/ 1 w 2"/>
                    <a:gd name="T7" fmla="*/ 1 h 1"/>
                    <a:gd name="T8" fmla="*/ 1 w 2"/>
                    <a:gd name="T9" fmla="*/ 1 h 1"/>
                    <a:gd name="T10" fmla="*/ 0 w 2"/>
                    <a:gd name="T11" fmla="*/ 1 h 1"/>
                    <a:gd name="T12" fmla="*/ 0 w 2"/>
                    <a:gd name="T13" fmla="*/ 1 h 1"/>
                    <a:gd name="T14" fmla="*/ 0 w 2"/>
                    <a:gd name="T15" fmla="*/ 1 h 1"/>
                    <a:gd name="T16" fmla="*/ 0 w 2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2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8" name="Freeform 114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0 w 1"/>
                    <a:gd name="T5" fmla="*/ 0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" y="1"/>
                        <a:pt x="0" y="1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9" name="Freeform 11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0" name="Freeform 116"/>
                <p:cNvSpPr>
                  <a:spLocks/>
                </p:cNvSpPr>
                <p:nvPr/>
              </p:nvSpPr>
              <p:spPr bwMode="auto">
                <a:xfrm>
                  <a:off x="2357438" y="2501901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0 w 4"/>
                    <a:gd name="T3" fmla="*/ 3 h 4"/>
                    <a:gd name="T4" fmla="*/ 1 w 4"/>
                    <a:gd name="T5" fmla="*/ 3 h 4"/>
                    <a:gd name="T6" fmla="*/ 3 w 4"/>
                    <a:gd name="T7" fmla="*/ 4 h 4"/>
                    <a:gd name="T8" fmla="*/ 4 w 4"/>
                    <a:gd name="T9" fmla="*/ 1 h 4"/>
                    <a:gd name="T10" fmla="*/ 4 w 4"/>
                    <a:gd name="T11" fmla="*/ 1 h 4"/>
                    <a:gd name="T12" fmla="*/ 1 w 4"/>
                    <a:gd name="T13" fmla="*/ 0 h 4"/>
                    <a:gd name="T14" fmla="*/ 1 w 4"/>
                    <a:gd name="T15" fmla="*/ 0 h 4"/>
                    <a:gd name="T16" fmla="*/ 1 w 4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2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1" name="Freeform 117"/>
                <p:cNvSpPr>
                  <a:spLocks/>
                </p:cNvSpPr>
                <p:nvPr/>
              </p:nvSpPr>
              <p:spPr bwMode="auto">
                <a:xfrm>
                  <a:off x="2312988" y="2516188"/>
                  <a:ext cx="58738" cy="311150"/>
                </a:xfrm>
                <a:custGeom>
                  <a:avLst/>
                  <a:gdLst>
                    <a:gd name="T0" fmla="*/ 9 w 12"/>
                    <a:gd name="T1" fmla="*/ 0 h 64"/>
                    <a:gd name="T2" fmla="*/ 1 w 12"/>
                    <a:gd name="T3" fmla="*/ 64 h 64"/>
                    <a:gd name="T4" fmla="*/ 0 w 12"/>
                    <a:gd name="T5" fmla="*/ 64 h 64"/>
                    <a:gd name="T6" fmla="*/ 0 w 12"/>
                    <a:gd name="T7" fmla="*/ 64 h 64"/>
                    <a:gd name="T8" fmla="*/ 0 w 12"/>
                    <a:gd name="T9" fmla="*/ 64 h 64"/>
                    <a:gd name="T10" fmla="*/ 0 w 12"/>
                    <a:gd name="T11" fmla="*/ 64 h 64"/>
                    <a:gd name="T12" fmla="*/ 3 w 12"/>
                    <a:gd name="T13" fmla="*/ 64 h 64"/>
                    <a:gd name="T14" fmla="*/ 4 w 12"/>
                    <a:gd name="T15" fmla="*/ 64 h 64"/>
                    <a:gd name="T16" fmla="*/ 12 w 12"/>
                    <a:gd name="T17" fmla="*/ 1 h 64"/>
                    <a:gd name="T18" fmla="*/ 10 w 12"/>
                    <a:gd name="T19" fmla="*/ 0 h 64"/>
                    <a:gd name="T20" fmla="*/ 9 w 12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" h="64">
                      <a:moveTo>
                        <a:pt x="9" y="0"/>
                      </a:moveTo>
                      <a:cubicBezTo>
                        <a:pt x="1" y="64"/>
                        <a:pt x="1" y="64"/>
                        <a:pt x="1" y="64"/>
                      </a:cubicBezTo>
                      <a:cubicBezTo>
                        <a:pt x="1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1" y="64"/>
                        <a:pt x="2" y="64"/>
                        <a:pt x="3" y="64"/>
                      </a:cubicBezTo>
                      <a:cubicBezTo>
                        <a:pt x="4" y="64"/>
                        <a:pt x="4" y="64"/>
                        <a:pt x="4" y="64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1"/>
                        <a:pt x="11" y="0"/>
                        <a:pt x="10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2" name="Freeform 11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3" name="Freeform 119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4" name="Freeform 120"/>
                <p:cNvSpPr>
                  <a:spLocks/>
                </p:cNvSpPr>
                <p:nvPr/>
              </p:nvSpPr>
              <p:spPr bwMode="auto">
                <a:xfrm>
                  <a:off x="2343151" y="2501901"/>
                  <a:ext cx="19050" cy="0"/>
                </a:xfrm>
                <a:custGeom>
                  <a:avLst/>
                  <a:gdLst>
                    <a:gd name="T0" fmla="*/ 0 w 4"/>
                    <a:gd name="T1" fmla="*/ 4 w 4"/>
                    <a:gd name="T2" fmla="*/ 4 w 4"/>
                    <a:gd name="T3" fmla="*/ 4 w 4"/>
                    <a:gd name="T4" fmla="*/ 1 w 4"/>
                    <a:gd name="T5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cubicBezTo>
                        <a:pt x="1" y="0"/>
                        <a:pt x="2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0"/>
                        <a:pt x="2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9693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5" name="Freeform 121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28575" cy="19050"/>
                </a:xfrm>
                <a:custGeom>
                  <a:avLst/>
                  <a:gdLst>
                    <a:gd name="T0" fmla="*/ 0 w 6"/>
                    <a:gd name="T1" fmla="*/ 0 h 4"/>
                    <a:gd name="T2" fmla="*/ 0 w 6"/>
                    <a:gd name="T3" fmla="*/ 4 h 4"/>
                    <a:gd name="T4" fmla="*/ 5 w 6"/>
                    <a:gd name="T5" fmla="*/ 4 h 4"/>
                    <a:gd name="T6" fmla="*/ 6 w 6"/>
                    <a:gd name="T7" fmla="*/ 1 h 4"/>
                    <a:gd name="T8" fmla="*/ 2 w 6"/>
                    <a:gd name="T9" fmla="*/ 1 h 4"/>
                    <a:gd name="T10" fmla="*/ 1 w 6"/>
                    <a:gd name="T11" fmla="*/ 0 h 4"/>
                    <a:gd name="T12" fmla="*/ 0 w 6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2" y="4"/>
                        <a:pt x="4" y="4"/>
                        <a:pt x="5" y="4"/>
                      </a:cubicBezTo>
                      <a:cubicBezTo>
                        <a:pt x="6" y="1"/>
                        <a:pt x="6" y="1"/>
                        <a:pt x="6" y="1"/>
                      </a:cubicBezTo>
                      <a:cubicBezTo>
                        <a:pt x="4" y="1"/>
                        <a:pt x="3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2C0C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" name="Freeform 122"/>
                <p:cNvSpPr>
                  <a:spLocks/>
                </p:cNvSpPr>
                <p:nvPr/>
              </p:nvSpPr>
              <p:spPr bwMode="auto">
                <a:xfrm>
                  <a:off x="2293938" y="2516188"/>
                  <a:ext cx="63500" cy="311150"/>
                </a:xfrm>
                <a:custGeom>
                  <a:avLst/>
                  <a:gdLst>
                    <a:gd name="T0" fmla="*/ 8 w 13"/>
                    <a:gd name="T1" fmla="*/ 0 h 64"/>
                    <a:gd name="T2" fmla="*/ 0 w 13"/>
                    <a:gd name="T3" fmla="*/ 63 h 64"/>
                    <a:gd name="T4" fmla="*/ 0 w 13"/>
                    <a:gd name="T5" fmla="*/ 63 h 64"/>
                    <a:gd name="T6" fmla="*/ 1 w 13"/>
                    <a:gd name="T7" fmla="*/ 63 h 64"/>
                    <a:gd name="T8" fmla="*/ 2 w 13"/>
                    <a:gd name="T9" fmla="*/ 63 h 64"/>
                    <a:gd name="T10" fmla="*/ 2 w 13"/>
                    <a:gd name="T11" fmla="*/ 63 h 64"/>
                    <a:gd name="T12" fmla="*/ 2 w 13"/>
                    <a:gd name="T13" fmla="*/ 63 h 64"/>
                    <a:gd name="T14" fmla="*/ 4 w 13"/>
                    <a:gd name="T15" fmla="*/ 64 h 64"/>
                    <a:gd name="T16" fmla="*/ 5 w 13"/>
                    <a:gd name="T17" fmla="*/ 64 h 64"/>
                    <a:gd name="T18" fmla="*/ 13 w 13"/>
                    <a:gd name="T19" fmla="*/ 0 h 64"/>
                    <a:gd name="T20" fmla="*/ 8 w 13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1" y="63"/>
                      </a:cubicBezTo>
                      <a:cubicBezTo>
                        <a:pt x="1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3" y="63"/>
                        <a:pt x="3" y="64"/>
                        <a:pt x="4" y="64"/>
                      </a:cubicBezTo>
                      <a:cubicBezTo>
                        <a:pt x="4" y="64"/>
                        <a:pt x="5" y="64"/>
                        <a:pt x="5" y="64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2" y="0"/>
                        <a:pt x="10" y="0"/>
                        <a:pt x="8" y="0"/>
                      </a:cubicBezTo>
                    </a:path>
                  </a:pathLst>
                </a:custGeom>
                <a:solidFill>
                  <a:srgbClr val="F5EA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" name="Freeform 123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2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2 w 3"/>
                    <a:gd name="T7" fmla="*/ 0 h 1"/>
                    <a:gd name="T8" fmla="*/ 0 w 3"/>
                    <a:gd name="T9" fmla="*/ 0 h 1"/>
                    <a:gd name="T10" fmla="*/ 0 w 3"/>
                    <a:gd name="T11" fmla="*/ 0 h 1"/>
                    <a:gd name="T12" fmla="*/ 1 w 3"/>
                    <a:gd name="T13" fmla="*/ 0 h 1"/>
                    <a:gd name="T14" fmla="*/ 1 w 3"/>
                    <a:gd name="T15" fmla="*/ 0 h 1"/>
                    <a:gd name="T16" fmla="*/ 0 w 3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EC5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" name="Freeform 124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1 w 3"/>
                    <a:gd name="T1" fmla="*/ 0 h 1"/>
                    <a:gd name="T2" fmla="*/ 2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1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1 w 3"/>
                    <a:gd name="T15" fmla="*/ 0 h 1"/>
                    <a:gd name="T16" fmla="*/ 1 w 3"/>
                    <a:gd name="T17" fmla="*/ 0 h 1"/>
                    <a:gd name="T18" fmla="*/ 0 w 3"/>
                    <a:gd name="T1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1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2CDC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  <p:sp>
          <p:nvSpPr>
            <p:cNvPr id="12" name="Rectangle 11"/>
            <p:cNvSpPr/>
            <p:nvPr/>
          </p:nvSpPr>
          <p:spPr bwMode="auto">
            <a:xfrm>
              <a:off x="3542839" y="1754690"/>
              <a:ext cx="5507908" cy="300803"/>
            </a:xfrm>
            <a:prstGeom prst="rect">
              <a:avLst/>
            </a:prstGeom>
            <a:solidFill>
              <a:srgbClr val="0070C0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30000"/>
                </a:spcAft>
                <a:buClr>
                  <a:schemeClr val="accent1"/>
                </a:buClr>
              </a:pPr>
              <a:endParaRPr lang="en-GB" sz="2100">
                <a:latin typeface="Arial" pitchFamily="34" charset="0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3599254" y="1773744"/>
            <a:ext cx="5232256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500" dirty="0">
                <a:solidFill>
                  <a:schemeClr val="bg1"/>
                </a:solidFill>
                <a:latin typeface="Century Gothic" panose="020B0502020202020204" pitchFamily="34" charset="0"/>
              </a:rPr>
              <a:t>Service Level Management |Portfolio Overview | DE </a:t>
            </a:r>
          </a:p>
        </p:txBody>
      </p:sp>
      <p:pic>
        <p:nvPicPr>
          <p:cNvPr id="12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65" t="1552" r="6251" b="20833"/>
          <a:stretch/>
        </p:blipFill>
        <p:spPr bwMode="auto">
          <a:xfrm>
            <a:off x="3549525" y="2061642"/>
            <a:ext cx="5492875" cy="32342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00" name="Table 1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9607806"/>
              </p:ext>
            </p:extLst>
          </p:nvPr>
        </p:nvGraphicFramePr>
        <p:xfrm>
          <a:off x="3862958" y="5302002"/>
          <a:ext cx="5112568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4522"/>
                <a:gridCol w="818480"/>
                <a:gridCol w="1370564"/>
                <a:gridCol w="748882"/>
                <a:gridCol w="1080120"/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100" b="0" dirty="0" smtClean="0">
                          <a:solidFill>
                            <a:schemeClr val="tx2"/>
                          </a:solidFill>
                        </a:rPr>
                        <a:t>Service Record1</a:t>
                      </a:r>
                      <a:endParaRPr lang="en-GB" sz="1100" b="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b="0" dirty="0" smtClean="0">
                          <a:solidFill>
                            <a:schemeClr val="tx2"/>
                          </a:solidFill>
                        </a:rPr>
                        <a:t>Owner(IT)</a:t>
                      </a:r>
                      <a:endParaRPr lang="en-GB" sz="1100" b="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solidFill>
                      <a:srgbClr val="CAD4D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b="0" dirty="0" smtClean="0">
                          <a:solidFill>
                            <a:schemeClr val="tx2"/>
                          </a:solidFill>
                        </a:rPr>
                        <a:t>Owner(Business)</a:t>
                      </a:r>
                      <a:endParaRPr lang="en-GB" sz="1100" b="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solidFill>
                      <a:srgbClr val="CAD4D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b="0" dirty="0" smtClean="0">
                          <a:solidFill>
                            <a:schemeClr val="tx2"/>
                          </a:solidFill>
                        </a:rPr>
                        <a:t>Service</a:t>
                      </a:r>
                      <a:r>
                        <a:rPr lang="en-GB" sz="1100" b="0" baseline="0" dirty="0" smtClean="0">
                          <a:solidFill>
                            <a:schemeClr val="tx2"/>
                          </a:solidFill>
                        </a:rPr>
                        <a:t> Owner</a:t>
                      </a:r>
                      <a:endParaRPr lang="en-GB" sz="1100" b="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solidFill>
                      <a:srgbClr val="CAD4D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b="0" dirty="0" smtClean="0">
                          <a:solidFill>
                            <a:schemeClr val="tx2"/>
                          </a:solidFill>
                        </a:rPr>
                        <a:t>Documents</a:t>
                      </a:r>
                      <a:endParaRPr lang="en-GB" sz="1100" b="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solidFill>
                      <a:srgbClr val="CAD4DE"/>
                    </a:solidFill>
                  </a:tcPr>
                </a:tc>
              </a:tr>
            </a:tbl>
          </a:graphicData>
        </a:graphic>
      </p:graphicFrame>
      <p:grpSp>
        <p:nvGrpSpPr>
          <p:cNvPr id="201" name="Group 239"/>
          <p:cNvGrpSpPr>
            <a:grpSpLocks/>
          </p:cNvGrpSpPr>
          <p:nvPr/>
        </p:nvGrpSpPr>
        <p:grpSpPr bwMode="auto">
          <a:xfrm>
            <a:off x="10703718" y="6859588"/>
            <a:ext cx="3659314" cy="4877929"/>
            <a:chOff x="96" y="1859"/>
            <a:chExt cx="2136" cy="2350"/>
          </a:xfrm>
        </p:grpSpPr>
        <p:sp>
          <p:nvSpPr>
            <p:cNvPr id="202" name="Freeform 240"/>
            <p:cNvSpPr>
              <a:spLocks/>
            </p:cNvSpPr>
            <p:nvPr/>
          </p:nvSpPr>
          <p:spPr bwMode="auto">
            <a:xfrm>
              <a:off x="96" y="1859"/>
              <a:ext cx="2136" cy="2269"/>
            </a:xfrm>
            <a:custGeom>
              <a:avLst/>
              <a:gdLst>
                <a:gd name="T0" fmla="*/ 2136 w 2136"/>
                <a:gd name="T1" fmla="*/ 2253 h 2269"/>
                <a:gd name="T2" fmla="*/ 1992 w 2136"/>
                <a:gd name="T3" fmla="*/ 1797 h 2269"/>
                <a:gd name="T4" fmla="*/ 1712 w 2136"/>
                <a:gd name="T5" fmla="*/ 1709 h 2269"/>
                <a:gd name="T6" fmla="*/ 1488 w 2136"/>
                <a:gd name="T7" fmla="*/ 1501 h 2269"/>
                <a:gd name="T8" fmla="*/ 1240 w 2136"/>
                <a:gd name="T9" fmla="*/ 1485 h 2269"/>
                <a:gd name="T10" fmla="*/ 976 w 2136"/>
                <a:gd name="T11" fmla="*/ 1333 h 2269"/>
                <a:gd name="T12" fmla="*/ 752 w 2136"/>
                <a:gd name="T13" fmla="*/ 1333 h 2269"/>
                <a:gd name="T14" fmla="*/ 680 w 2136"/>
                <a:gd name="T15" fmla="*/ 1405 h 2269"/>
                <a:gd name="T16" fmla="*/ 504 w 2136"/>
                <a:gd name="T17" fmla="*/ 1165 h 2269"/>
                <a:gd name="T18" fmla="*/ 480 w 2136"/>
                <a:gd name="T19" fmla="*/ 813 h 2269"/>
                <a:gd name="T20" fmla="*/ 392 w 2136"/>
                <a:gd name="T21" fmla="*/ 573 h 2269"/>
                <a:gd name="T22" fmla="*/ 400 w 2136"/>
                <a:gd name="T23" fmla="*/ 349 h 2269"/>
                <a:gd name="T24" fmla="*/ 304 w 2136"/>
                <a:gd name="T25" fmla="*/ 53 h 2269"/>
                <a:gd name="T26" fmla="*/ 152 w 2136"/>
                <a:gd name="T27" fmla="*/ 29 h 2269"/>
                <a:gd name="T28" fmla="*/ 48 w 2136"/>
                <a:gd name="T29" fmla="*/ 165 h 2269"/>
                <a:gd name="T30" fmla="*/ 8 w 2136"/>
                <a:gd name="T31" fmla="*/ 813 h 2269"/>
                <a:gd name="T32" fmla="*/ 96 w 2136"/>
                <a:gd name="T33" fmla="*/ 1349 h 2269"/>
                <a:gd name="T34" fmla="*/ 144 w 2136"/>
                <a:gd name="T35" fmla="*/ 1885 h 2269"/>
                <a:gd name="T36" fmla="*/ 144 w 2136"/>
                <a:gd name="T37" fmla="*/ 2269 h 2269"/>
                <a:gd name="T38" fmla="*/ 2136 w 2136"/>
                <a:gd name="T39" fmla="*/ 2253 h 2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136" h="2269">
                  <a:moveTo>
                    <a:pt x="2136" y="2253"/>
                  </a:moveTo>
                  <a:cubicBezTo>
                    <a:pt x="2099" y="2070"/>
                    <a:pt x="2063" y="1888"/>
                    <a:pt x="1992" y="1797"/>
                  </a:cubicBezTo>
                  <a:cubicBezTo>
                    <a:pt x="1921" y="1706"/>
                    <a:pt x="1796" y="1758"/>
                    <a:pt x="1712" y="1709"/>
                  </a:cubicBezTo>
                  <a:cubicBezTo>
                    <a:pt x="1628" y="1660"/>
                    <a:pt x="1567" y="1538"/>
                    <a:pt x="1488" y="1501"/>
                  </a:cubicBezTo>
                  <a:cubicBezTo>
                    <a:pt x="1409" y="1464"/>
                    <a:pt x="1325" y="1513"/>
                    <a:pt x="1240" y="1485"/>
                  </a:cubicBezTo>
                  <a:cubicBezTo>
                    <a:pt x="1155" y="1457"/>
                    <a:pt x="1057" y="1358"/>
                    <a:pt x="976" y="1333"/>
                  </a:cubicBezTo>
                  <a:cubicBezTo>
                    <a:pt x="895" y="1308"/>
                    <a:pt x="801" y="1321"/>
                    <a:pt x="752" y="1333"/>
                  </a:cubicBezTo>
                  <a:cubicBezTo>
                    <a:pt x="703" y="1345"/>
                    <a:pt x="721" y="1433"/>
                    <a:pt x="680" y="1405"/>
                  </a:cubicBezTo>
                  <a:cubicBezTo>
                    <a:pt x="639" y="1377"/>
                    <a:pt x="537" y="1264"/>
                    <a:pt x="504" y="1165"/>
                  </a:cubicBezTo>
                  <a:cubicBezTo>
                    <a:pt x="471" y="1066"/>
                    <a:pt x="499" y="912"/>
                    <a:pt x="480" y="813"/>
                  </a:cubicBezTo>
                  <a:cubicBezTo>
                    <a:pt x="461" y="714"/>
                    <a:pt x="405" y="650"/>
                    <a:pt x="392" y="573"/>
                  </a:cubicBezTo>
                  <a:cubicBezTo>
                    <a:pt x="379" y="496"/>
                    <a:pt x="415" y="436"/>
                    <a:pt x="400" y="349"/>
                  </a:cubicBezTo>
                  <a:cubicBezTo>
                    <a:pt x="385" y="262"/>
                    <a:pt x="345" y="106"/>
                    <a:pt x="304" y="53"/>
                  </a:cubicBezTo>
                  <a:cubicBezTo>
                    <a:pt x="263" y="0"/>
                    <a:pt x="195" y="10"/>
                    <a:pt x="152" y="29"/>
                  </a:cubicBezTo>
                  <a:cubicBezTo>
                    <a:pt x="109" y="48"/>
                    <a:pt x="72" y="34"/>
                    <a:pt x="48" y="165"/>
                  </a:cubicBezTo>
                  <a:cubicBezTo>
                    <a:pt x="24" y="296"/>
                    <a:pt x="0" y="616"/>
                    <a:pt x="8" y="813"/>
                  </a:cubicBezTo>
                  <a:cubicBezTo>
                    <a:pt x="16" y="1010"/>
                    <a:pt x="73" y="1170"/>
                    <a:pt x="96" y="1349"/>
                  </a:cubicBezTo>
                  <a:cubicBezTo>
                    <a:pt x="119" y="1528"/>
                    <a:pt x="136" y="1732"/>
                    <a:pt x="144" y="1885"/>
                  </a:cubicBezTo>
                  <a:cubicBezTo>
                    <a:pt x="152" y="2038"/>
                    <a:pt x="144" y="2205"/>
                    <a:pt x="144" y="2269"/>
                  </a:cubicBezTo>
                  <a:cubicBezTo>
                    <a:pt x="144" y="2269"/>
                    <a:pt x="2136" y="2253"/>
                    <a:pt x="2136" y="2253"/>
                  </a:cubicBezTo>
                  <a:close/>
                </a:path>
              </a:pathLst>
            </a:custGeom>
            <a:solidFill>
              <a:srgbClr val="D6A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203" name="Group 241"/>
            <p:cNvGrpSpPr>
              <a:grpSpLocks/>
            </p:cNvGrpSpPr>
            <p:nvPr/>
          </p:nvGrpSpPr>
          <p:grpSpPr bwMode="auto">
            <a:xfrm>
              <a:off x="159" y="1880"/>
              <a:ext cx="1865" cy="2329"/>
              <a:chOff x="159" y="1880"/>
              <a:chExt cx="1865" cy="2329"/>
            </a:xfrm>
          </p:grpSpPr>
          <p:sp>
            <p:nvSpPr>
              <p:cNvPr id="205" name="Freeform 242"/>
              <p:cNvSpPr>
                <a:spLocks/>
              </p:cNvSpPr>
              <p:nvPr/>
            </p:nvSpPr>
            <p:spPr bwMode="auto">
              <a:xfrm>
                <a:off x="284" y="2599"/>
                <a:ext cx="1740" cy="1610"/>
              </a:xfrm>
              <a:custGeom>
                <a:avLst/>
                <a:gdLst>
                  <a:gd name="T0" fmla="*/ 908 w 1740"/>
                  <a:gd name="T1" fmla="*/ 1513 h 1610"/>
                  <a:gd name="T2" fmla="*/ 876 w 1740"/>
                  <a:gd name="T3" fmla="*/ 1049 h 1610"/>
                  <a:gd name="T4" fmla="*/ 1012 w 1740"/>
                  <a:gd name="T5" fmla="*/ 1217 h 1610"/>
                  <a:gd name="T6" fmla="*/ 1012 w 1740"/>
                  <a:gd name="T7" fmla="*/ 1545 h 1610"/>
                  <a:gd name="T8" fmla="*/ 1228 w 1740"/>
                  <a:gd name="T9" fmla="*/ 1545 h 1610"/>
                  <a:gd name="T10" fmla="*/ 1356 w 1740"/>
                  <a:gd name="T11" fmla="*/ 1153 h 1610"/>
                  <a:gd name="T12" fmla="*/ 1548 w 1740"/>
                  <a:gd name="T13" fmla="*/ 1329 h 1610"/>
                  <a:gd name="T14" fmla="*/ 1636 w 1740"/>
                  <a:gd name="T15" fmla="*/ 1177 h 1610"/>
                  <a:gd name="T16" fmla="*/ 1732 w 1740"/>
                  <a:gd name="T17" fmla="*/ 1113 h 1610"/>
                  <a:gd name="T18" fmla="*/ 1588 w 1740"/>
                  <a:gd name="T19" fmla="*/ 1113 h 1610"/>
                  <a:gd name="T20" fmla="*/ 1546 w 1740"/>
                  <a:gd name="T21" fmla="*/ 1328 h 1610"/>
                  <a:gd name="T22" fmla="*/ 1357 w 1740"/>
                  <a:gd name="T23" fmla="*/ 1151 h 1610"/>
                  <a:gd name="T24" fmla="*/ 1372 w 1740"/>
                  <a:gd name="T25" fmla="*/ 905 h 1610"/>
                  <a:gd name="T26" fmla="*/ 1188 w 1740"/>
                  <a:gd name="T27" fmla="*/ 801 h 1610"/>
                  <a:gd name="T28" fmla="*/ 1084 w 1740"/>
                  <a:gd name="T29" fmla="*/ 1025 h 1610"/>
                  <a:gd name="T30" fmla="*/ 796 w 1740"/>
                  <a:gd name="T31" fmla="*/ 673 h 1610"/>
                  <a:gd name="T32" fmla="*/ 564 w 1740"/>
                  <a:gd name="T33" fmla="*/ 697 h 1610"/>
                  <a:gd name="T34" fmla="*/ 412 w 1740"/>
                  <a:gd name="T35" fmla="*/ 889 h 1610"/>
                  <a:gd name="T36" fmla="*/ 196 w 1740"/>
                  <a:gd name="T37" fmla="*/ 745 h 1610"/>
                  <a:gd name="T38" fmla="*/ 164 w 1740"/>
                  <a:gd name="T39" fmla="*/ 353 h 1610"/>
                  <a:gd name="T40" fmla="*/ 100 w 1740"/>
                  <a:gd name="T41" fmla="*/ 25 h 1610"/>
                  <a:gd name="T42" fmla="*/ 84 w 1740"/>
                  <a:gd name="T43" fmla="*/ 201 h 1610"/>
                  <a:gd name="T44" fmla="*/ 84 w 1740"/>
                  <a:gd name="T45" fmla="*/ 793 h 1610"/>
                  <a:gd name="T46" fmla="*/ 12 w 1740"/>
                  <a:gd name="T47" fmla="*/ 1321 h 1610"/>
                  <a:gd name="T48" fmla="*/ 12 w 1740"/>
                  <a:gd name="T49" fmla="*/ 1569 h 1610"/>
                  <a:gd name="T50" fmla="*/ 908 w 1740"/>
                  <a:gd name="T51" fmla="*/ 1513 h 161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740" h="1610">
                    <a:moveTo>
                      <a:pt x="908" y="1513"/>
                    </a:moveTo>
                    <a:cubicBezTo>
                      <a:pt x="883" y="1305"/>
                      <a:pt x="859" y="1098"/>
                      <a:pt x="876" y="1049"/>
                    </a:cubicBezTo>
                    <a:cubicBezTo>
                      <a:pt x="893" y="1000"/>
                      <a:pt x="989" y="1134"/>
                      <a:pt x="1012" y="1217"/>
                    </a:cubicBezTo>
                    <a:cubicBezTo>
                      <a:pt x="1035" y="1300"/>
                      <a:pt x="976" y="1490"/>
                      <a:pt x="1012" y="1545"/>
                    </a:cubicBezTo>
                    <a:cubicBezTo>
                      <a:pt x="1048" y="1600"/>
                      <a:pt x="1171" y="1610"/>
                      <a:pt x="1228" y="1545"/>
                    </a:cubicBezTo>
                    <a:cubicBezTo>
                      <a:pt x="1285" y="1480"/>
                      <a:pt x="1303" y="1189"/>
                      <a:pt x="1356" y="1153"/>
                    </a:cubicBezTo>
                    <a:lnTo>
                      <a:pt x="1548" y="1329"/>
                    </a:lnTo>
                    <a:cubicBezTo>
                      <a:pt x="1595" y="1333"/>
                      <a:pt x="1605" y="1213"/>
                      <a:pt x="1636" y="1177"/>
                    </a:cubicBezTo>
                    <a:cubicBezTo>
                      <a:pt x="1667" y="1141"/>
                      <a:pt x="1740" y="1124"/>
                      <a:pt x="1732" y="1113"/>
                    </a:cubicBezTo>
                    <a:cubicBezTo>
                      <a:pt x="1724" y="1102"/>
                      <a:pt x="1619" y="1077"/>
                      <a:pt x="1588" y="1113"/>
                    </a:cubicBezTo>
                    <a:cubicBezTo>
                      <a:pt x="1557" y="1149"/>
                      <a:pt x="1584" y="1322"/>
                      <a:pt x="1546" y="1328"/>
                    </a:cubicBezTo>
                    <a:lnTo>
                      <a:pt x="1357" y="1151"/>
                    </a:lnTo>
                    <a:cubicBezTo>
                      <a:pt x="1328" y="1081"/>
                      <a:pt x="1400" y="963"/>
                      <a:pt x="1372" y="905"/>
                    </a:cubicBezTo>
                    <a:cubicBezTo>
                      <a:pt x="1344" y="847"/>
                      <a:pt x="1236" y="781"/>
                      <a:pt x="1188" y="801"/>
                    </a:cubicBezTo>
                    <a:cubicBezTo>
                      <a:pt x="1140" y="821"/>
                      <a:pt x="1149" y="1046"/>
                      <a:pt x="1084" y="1025"/>
                    </a:cubicBezTo>
                    <a:cubicBezTo>
                      <a:pt x="1019" y="1004"/>
                      <a:pt x="883" y="728"/>
                      <a:pt x="796" y="673"/>
                    </a:cubicBezTo>
                    <a:cubicBezTo>
                      <a:pt x="709" y="618"/>
                      <a:pt x="628" y="661"/>
                      <a:pt x="564" y="697"/>
                    </a:cubicBezTo>
                    <a:cubicBezTo>
                      <a:pt x="500" y="733"/>
                      <a:pt x="473" y="881"/>
                      <a:pt x="412" y="889"/>
                    </a:cubicBezTo>
                    <a:cubicBezTo>
                      <a:pt x="351" y="897"/>
                      <a:pt x="237" y="834"/>
                      <a:pt x="196" y="745"/>
                    </a:cubicBezTo>
                    <a:cubicBezTo>
                      <a:pt x="155" y="656"/>
                      <a:pt x="180" y="473"/>
                      <a:pt x="164" y="353"/>
                    </a:cubicBezTo>
                    <a:cubicBezTo>
                      <a:pt x="148" y="233"/>
                      <a:pt x="113" y="50"/>
                      <a:pt x="100" y="25"/>
                    </a:cubicBezTo>
                    <a:cubicBezTo>
                      <a:pt x="87" y="0"/>
                      <a:pt x="87" y="73"/>
                      <a:pt x="84" y="201"/>
                    </a:cubicBezTo>
                    <a:cubicBezTo>
                      <a:pt x="81" y="329"/>
                      <a:pt x="96" y="606"/>
                      <a:pt x="84" y="793"/>
                    </a:cubicBezTo>
                    <a:cubicBezTo>
                      <a:pt x="72" y="980"/>
                      <a:pt x="24" y="1192"/>
                      <a:pt x="12" y="1321"/>
                    </a:cubicBezTo>
                    <a:cubicBezTo>
                      <a:pt x="0" y="1450"/>
                      <a:pt x="6" y="1509"/>
                      <a:pt x="12" y="1569"/>
                    </a:cubicBezTo>
                    <a:cubicBezTo>
                      <a:pt x="12" y="1569"/>
                      <a:pt x="908" y="1513"/>
                      <a:pt x="908" y="1513"/>
                    </a:cubicBezTo>
                    <a:close/>
                  </a:path>
                </a:pathLst>
              </a:custGeom>
              <a:solidFill>
                <a:srgbClr val="D6A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6" name="Freeform 243"/>
              <p:cNvSpPr>
                <a:spLocks/>
              </p:cNvSpPr>
              <p:nvPr/>
            </p:nvSpPr>
            <p:spPr bwMode="auto">
              <a:xfrm>
                <a:off x="159" y="1880"/>
                <a:ext cx="268" cy="225"/>
              </a:xfrm>
              <a:custGeom>
                <a:avLst/>
                <a:gdLst>
                  <a:gd name="T0" fmla="*/ 9 w 268"/>
                  <a:gd name="T1" fmla="*/ 136 h 225"/>
                  <a:gd name="T2" fmla="*/ 129 w 268"/>
                  <a:gd name="T3" fmla="*/ 224 h 225"/>
                  <a:gd name="T4" fmla="*/ 257 w 268"/>
                  <a:gd name="T5" fmla="*/ 144 h 225"/>
                  <a:gd name="T6" fmla="*/ 193 w 268"/>
                  <a:gd name="T7" fmla="*/ 32 h 225"/>
                  <a:gd name="T8" fmla="*/ 73 w 268"/>
                  <a:gd name="T9" fmla="*/ 16 h 225"/>
                  <a:gd name="T10" fmla="*/ 9 w 268"/>
                  <a:gd name="T11" fmla="*/ 136 h 2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8" h="225">
                    <a:moveTo>
                      <a:pt x="9" y="136"/>
                    </a:moveTo>
                    <a:cubicBezTo>
                      <a:pt x="18" y="171"/>
                      <a:pt x="88" y="223"/>
                      <a:pt x="129" y="224"/>
                    </a:cubicBezTo>
                    <a:cubicBezTo>
                      <a:pt x="170" y="225"/>
                      <a:pt x="246" y="176"/>
                      <a:pt x="257" y="144"/>
                    </a:cubicBezTo>
                    <a:cubicBezTo>
                      <a:pt x="268" y="112"/>
                      <a:pt x="224" y="53"/>
                      <a:pt x="193" y="32"/>
                    </a:cubicBezTo>
                    <a:cubicBezTo>
                      <a:pt x="162" y="11"/>
                      <a:pt x="104" y="0"/>
                      <a:pt x="73" y="16"/>
                    </a:cubicBezTo>
                    <a:cubicBezTo>
                      <a:pt x="42" y="32"/>
                      <a:pt x="0" y="101"/>
                      <a:pt x="9" y="136"/>
                    </a:cubicBezTo>
                    <a:close/>
                  </a:path>
                </a:pathLst>
              </a:custGeom>
              <a:solidFill>
                <a:srgbClr val="E9BEA9"/>
              </a:solidFill>
              <a:ln w="9525" cap="flat" cmpd="sng">
                <a:solidFill>
                  <a:srgbClr val="DAAD80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204" name="Freeform 244"/>
            <p:cNvSpPr>
              <a:spLocks/>
            </p:cNvSpPr>
            <p:nvPr/>
          </p:nvSpPr>
          <p:spPr bwMode="auto">
            <a:xfrm>
              <a:off x="213" y="2432"/>
              <a:ext cx="188" cy="139"/>
            </a:xfrm>
            <a:custGeom>
              <a:avLst/>
              <a:gdLst>
                <a:gd name="T0" fmla="*/ 11 w 188"/>
                <a:gd name="T1" fmla="*/ 0 h 139"/>
                <a:gd name="T2" fmla="*/ 91 w 188"/>
                <a:gd name="T3" fmla="*/ 56 h 139"/>
                <a:gd name="T4" fmla="*/ 187 w 188"/>
                <a:gd name="T5" fmla="*/ 16 h 139"/>
                <a:gd name="T6" fmla="*/ 83 w 188"/>
                <a:gd name="T7" fmla="*/ 88 h 139"/>
                <a:gd name="T8" fmla="*/ 3 w 188"/>
                <a:gd name="T9" fmla="*/ 56 h 139"/>
                <a:gd name="T10" fmla="*/ 99 w 188"/>
                <a:gd name="T11" fmla="*/ 128 h 139"/>
                <a:gd name="T12" fmla="*/ 147 w 188"/>
                <a:gd name="T13" fmla="*/ 120 h 1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8" h="139">
                  <a:moveTo>
                    <a:pt x="11" y="0"/>
                  </a:moveTo>
                  <a:cubicBezTo>
                    <a:pt x="36" y="26"/>
                    <a:pt x="62" y="53"/>
                    <a:pt x="91" y="56"/>
                  </a:cubicBezTo>
                  <a:cubicBezTo>
                    <a:pt x="120" y="59"/>
                    <a:pt x="188" y="11"/>
                    <a:pt x="187" y="16"/>
                  </a:cubicBezTo>
                  <a:cubicBezTo>
                    <a:pt x="186" y="21"/>
                    <a:pt x="114" y="81"/>
                    <a:pt x="83" y="88"/>
                  </a:cubicBezTo>
                  <a:cubicBezTo>
                    <a:pt x="52" y="95"/>
                    <a:pt x="0" y="49"/>
                    <a:pt x="3" y="56"/>
                  </a:cubicBezTo>
                  <a:cubicBezTo>
                    <a:pt x="6" y="63"/>
                    <a:pt x="75" y="117"/>
                    <a:pt x="99" y="128"/>
                  </a:cubicBezTo>
                  <a:cubicBezTo>
                    <a:pt x="123" y="139"/>
                    <a:pt x="135" y="129"/>
                    <a:pt x="147" y="120"/>
                  </a:cubicBezTo>
                </a:path>
              </a:pathLst>
            </a:custGeom>
            <a:noFill/>
            <a:ln w="19050" cap="flat" cmpd="sng">
              <a:solidFill>
                <a:srgbClr val="DAAD8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07" name="Rectangle 206"/>
          <p:cNvSpPr/>
          <p:nvPr/>
        </p:nvSpPr>
        <p:spPr>
          <a:xfrm>
            <a:off x="7453313" y="2678906"/>
            <a:ext cx="535782" cy="340519"/>
          </a:xfrm>
          <a:prstGeom prst="rect">
            <a:avLst/>
          </a:prstGeom>
          <a:noFill/>
          <a:ln w="28575">
            <a:solidFill>
              <a:srgbClr val="E4003A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val="1600129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9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7 L -0.2625 -0.63889 " pathEditMode="relative" rAng="0" ptsTypes="AA">
                                      <p:cBhvr>
                                        <p:cTn id="11" dur="500" fill="hold"/>
                                        <p:tgtEl>
                                          <p:spTgt spid="20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125" y="-3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6" presetClass="emph" presetSubtype="0" decel="5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100" fill="hold"/>
                                        <p:tgtEl>
                                          <p:spTgt spid="201"/>
                                        </p:tgtEl>
                                      </p:cBhvr>
                                      <p:by x="10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00"/>
                            </p:stCondLst>
                            <p:childTnLst>
                              <p:par>
                                <p:cTn id="16" presetID="2" presetClass="exit" presetSubtype="4" ac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7" dur="300"/>
                                        <p:tgtEl>
                                          <p:spTgt spid="2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300"/>
                                        <p:tgtEl>
                                          <p:spTgt spid="2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 tmFilter="0, 0; .2, .5; .8, .5; 1, 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250" autoRev="1" fill="hold"/>
                                        <p:tgtEl>
                                          <p:spTgt spid="20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200"/>
                            </p:stCondLst>
                            <p:childTnLst>
                              <p:par>
                                <p:cTn id="2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200"/>
                            </p:stCondLst>
                            <p:childTnLst>
                              <p:par>
                                <p:cTn id="27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 tmFilter="0, 0; .2, .5; .8, .5; 1, 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9" dur="250" autoRev="1" fill="hold"/>
                                        <p:tgtEl>
                                          <p:spTgt spid="20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2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 tmFilter="0, 0; .2, .5; .8, .5; 1, 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2" dur="250" autoRev="1" fill="hold"/>
                                        <p:tgtEl>
                                          <p:spTgt spid="20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07" grpId="0" animBg="1"/>
      <p:bldP spid="207" grpId="1" animBg="1"/>
      <p:bldP spid="207" grpId="2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4C536D6-B736-49CE-A15A-036B8228C5C7}" type="datetime1">
              <a:rPr lang="en-GB" smtClean="0"/>
              <a:t>16/07/2019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endParaRPr lang="en-US">
              <a:latin typeface="Allianz Neo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 smtClean="0">
                <a:latin typeface="Allianz Neo" pitchFamily="34" charset="0"/>
              </a:rPr>
              <a:t>IDS :: Data sourcing :: GRIPS :: </a:t>
            </a:r>
            <a:r>
              <a:rPr lang="en-GB" sz="2800" dirty="0"/>
              <a:t>Contracts &amp; Documents</a:t>
            </a:r>
            <a:endParaRPr lang="en-US" sz="2800" dirty="0">
              <a:latin typeface="Allianz Neo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63724" y="1019622"/>
            <a:ext cx="2823170" cy="760959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  <a:t>Service Record</a:t>
            </a:r>
            <a:b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</a:b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  <a:t>level</a:t>
            </a:r>
          </a:p>
        </p:txBody>
      </p:sp>
      <p:grpSp>
        <p:nvGrpSpPr>
          <p:cNvPr id="148" name="Group 147"/>
          <p:cNvGrpSpPr/>
          <p:nvPr/>
        </p:nvGrpSpPr>
        <p:grpSpPr>
          <a:xfrm>
            <a:off x="1494174" y="1197546"/>
            <a:ext cx="8177734" cy="7180769"/>
            <a:chOff x="1494174" y="1197546"/>
            <a:chExt cx="8177734" cy="7180769"/>
          </a:xfrm>
        </p:grpSpPr>
        <p:grpSp>
          <p:nvGrpSpPr>
            <p:cNvPr id="10" name="Group 9"/>
            <p:cNvGrpSpPr/>
            <p:nvPr/>
          </p:nvGrpSpPr>
          <p:grpSpPr>
            <a:xfrm>
              <a:off x="1494174" y="1197546"/>
              <a:ext cx="8177734" cy="7180769"/>
              <a:chOff x="1120776" y="627534"/>
              <a:chExt cx="6134098" cy="5384330"/>
            </a:xfrm>
          </p:grpSpPr>
          <p:grpSp>
            <p:nvGrpSpPr>
              <p:cNvPr id="57" name="Group 56"/>
              <p:cNvGrpSpPr/>
              <p:nvPr/>
            </p:nvGrpSpPr>
            <p:grpSpPr>
              <a:xfrm>
                <a:off x="2147888" y="627534"/>
                <a:ext cx="5106986" cy="3933826"/>
                <a:chOff x="2147888" y="320676"/>
                <a:chExt cx="5106988" cy="3933825"/>
              </a:xfrm>
            </p:grpSpPr>
            <p:sp>
              <p:nvSpPr>
                <p:cNvPr id="119" name="Freeform 7"/>
                <p:cNvSpPr>
                  <a:spLocks/>
                </p:cNvSpPr>
                <p:nvPr/>
              </p:nvSpPr>
              <p:spPr bwMode="auto">
                <a:xfrm>
                  <a:off x="2147888" y="320676"/>
                  <a:ext cx="5097463" cy="3933825"/>
                </a:xfrm>
                <a:custGeom>
                  <a:avLst/>
                  <a:gdLst>
                    <a:gd name="T0" fmla="*/ 1047 w 1047"/>
                    <a:gd name="T1" fmla="*/ 772 h 808"/>
                    <a:gd name="T2" fmla="*/ 1047 w 1047"/>
                    <a:gd name="T3" fmla="*/ 36 h 808"/>
                    <a:gd name="T4" fmla="*/ 1011 w 1047"/>
                    <a:gd name="T5" fmla="*/ 0 h 808"/>
                    <a:gd name="T6" fmla="*/ 36 w 1047"/>
                    <a:gd name="T7" fmla="*/ 0 h 808"/>
                    <a:gd name="T8" fmla="*/ 0 w 1047"/>
                    <a:gd name="T9" fmla="*/ 36 h 808"/>
                    <a:gd name="T10" fmla="*/ 0 w 1047"/>
                    <a:gd name="T11" fmla="*/ 772 h 808"/>
                    <a:gd name="T12" fmla="*/ 36 w 1047"/>
                    <a:gd name="T13" fmla="*/ 808 h 808"/>
                    <a:gd name="T14" fmla="*/ 1011 w 1047"/>
                    <a:gd name="T15" fmla="*/ 808 h 808"/>
                    <a:gd name="T16" fmla="*/ 1047 w 1047"/>
                    <a:gd name="T17" fmla="*/ 772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7" h="808">
                      <a:moveTo>
                        <a:pt x="1047" y="772"/>
                      </a:moveTo>
                      <a:cubicBezTo>
                        <a:pt x="1047" y="36"/>
                        <a:pt x="1047" y="36"/>
                        <a:pt x="1047" y="36"/>
                      </a:cubicBezTo>
                      <a:cubicBezTo>
                        <a:pt x="1047" y="17"/>
                        <a:pt x="1031" y="0"/>
                        <a:pt x="1011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16" y="0"/>
                        <a:pt x="0" y="17"/>
                        <a:pt x="0" y="36"/>
                      </a:cubicBezTo>
                      <a:cubicBezTo>
                        <a:pt x="0" y="772"/>
                        <a:pt x="0" y="772"/>
                        <a:pt x="0" y="772"/>
                      </a:cubicBezTo>
                      <a:cubicBezTo>
                        <a:pt x="0" y="792"/>
                        <a:pt x="16" y="808"/>
                        <a:pt x="36" y="808"/>
                      </a:cubicBezTo>
                      <a:cubicBezTo>
                        <a:pt x="1011" y="808"/>
                        <a:pt x="1011" y="808"/>
                        <a:pt x="1011" y="808"/>
                      </a:cubicBezTo>
                      <a:cubicBezTo>
                        <a:pt x="1031" y="808"/>
                        <a:pt x="1047" y="792"/>
                        <a:pt x="1047" y="772"/>
                      </a:cubicBezTo>
                    </a:path>
                  </a:pathLst>
                </a:custGeom>
                <a:solidFill>
                  <a:srgbClr val="21242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" name="Freeform 8"/>
                <p:cNvSpPr>
                  <a:spLocks/>
                </p:cNvSpPr>
                <p:nvPr/>
              </p:nvSpPr>
              <p:spPr bwMode="auto">
                <a:xfrm>
                  <a:off x="4656138" y="320676"/>
                  <a:ext cx="2598738" cy="2093913"/>
                </a:xfrm>
                <a:custGeom>
                  <a:avLst/>
                  <a:gdLst>
                    <a:gd name="T0" fmla="*/ 534 w 534"/>
                    <a:gd name="T1" fmla="*/ 430 h 430"/>
                    <a:gd name="T2" fmla="*/ 534 w 534"/>
                    <a:gd name="T3" fmla="*/ 36 h 430"/>
                    <a:gd name="T4" fmla="*/ 498 w 534"/>
                    <a:gd name="T5" fmla="*/ 0 h 430"/>
                    <a:gd name="T6" fmla="*/ 0 w 534"/>
                    <a:gd name="T7" fmla="*/ 0 h 430"/>
                    <a:gd name="T8" fmla="*/ 534 w 534"/>
                    <a:gd name="T9" fmla="*/ 430 h 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4" h="430">
                      <a:moveTo>
                        <a:pt x="534" y="430"/>
                      </a:moveTo>
                      <a:cubicBezTo>
                        <a:pt x="534" y="36"/>
                        <a:pt x="534" y="36"/>
                        <a:pt x="534" y="36"/>
                      </a:cubicBezTo>
                      <a:cubicBezTo>
                        <a:pt x="534" y="17"/>
                        <a:pt x="518" y="0"/>
                        <a:pt x="49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534" y="430"/>
                      </a:lnTo>
                      <a:close/>
                    </a:path>
                  </a:pathLst>
                </a:custGeom>
                <a:solidFill>
                  <a:srgbClr val="5A5A5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" name="Freeform 10"/>
                <p:cNvSpPr>
                  <a:spLocks/>
                </p:cNvSpPr>
                <p:nvPr/>
              </p:nvSpPr>
              <p:spPr bwMode="auto">
                <a:xfrm>
                  <a:off x="2659063" y="739776"/>
                  <a:ext cx="4129088" cy="3095625"/>
                </a:xfrm>
                <a:custGeom>
                  <a:avLst/>
                  <a:gdLst>
                    <a:gd name="T0" fmla="*/ 848 w 848"/>
                    <a:gd name="T1" fmla="*/ 635 h 636"/>
                    <a:gd name="T2" fmla="*/ 847 w 848"/>
                    <a:gd name="T3" fmla="*/ 636 h 636"/>
                    <a:gd name="T4" fmla="*/ 2 w 848"/>
                    <a:gd name="T5" fmla="*/ 636 h 636"/>
                    <a:gd name="T6" fmla="*/ 0 w 848"/>
                    <a:gd name="T7" fmla="*/ 635 h 636"/>
                    <a:gd name="T8" fmla="*/ 0 w 848"/>
                    <a:gd name="T9" fmla="*/ 2 h 636"/>
                    <a:gd name="T10" fmla="*/ 2 w 848"/>
                    <a:gd name="T11" fmla="*/ 0 h 636"/>
                    <a:gd name="T12" fmla="*/ 847 w 848"/>
                    <a:gd name="T13" fmla="*/ 0 h 636"/>
                    <a:gd name="T14" fmla="*/ 848 w 848"/>
                    <a:gd name="T15" fmla="*/ 2 h 636"/>
                    <a:gd name="T16" fmla="*/ 848 w 848"/>
                    <a:gd name="T17" fmla="*/ 635 h 6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8" h="636">
                      <a:moveTo>
                        <a:pt x="848" y="635"/>
                      </a:moveTo>
                      <a:cubicBezTo>
                        <a:pt x="848" y="636"/>
                        <a:pt x="847" y="636"/>
                        <a:pt x="847" y="636"/>
                      </a:cubicBezTo>
                      <a:cubicBezTo>
                        <a:pt x="2" y="636"/>
                        <a:pt x="2" y="636"/>
                        <a:pt x="2" y="636"/>
                      </a:cubicBezTo>
                      <a:cubicBezTo>
                        <a:pt x="1" y="636"/>
                        <a:pt x="0" y="636"/>
                        <a:pt x="0" y="63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847" y="0"/>
                        <a:pt x="847" y="0"/>
                        <a:pt x="847" y="0"/>
                      </a:cubicBezTo>
                      <a:cubicBezTo>
                        <a:pt x="847" y="0"/>
                        <a:pt x="848" y="1"/>
                        <a:pt x="848" y="2"/>
                      </a:cubicBezTo>
                      <a:lnTo>
                        <a:pt x="848" y="63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grpSp>
            <p:nvGrpSpPr>
              <p:cNvPr id="58" name="Group 57"/>
              <p:cNvGrpSpPr/>
              <p:nvPr/>
            </p:nvGrpSpPr>
            <p:grpSpPr>
              <a:xfrm>
                <a:off x="1120776" y="2492376"/>
                <a:ext cx="1436688" cy="3519488"/>
                <a:chOff x="1120776" y="2492376"/>
                <a:chExt cx="1436688" cy="3519488"/>
              </a:xfrm>
            </p:grpSpPr>
            <p:sp>
              <p:nvSpPr>
                <p:cNvPr id="59" name="Freeform 64"/>
                <p:cNvSpPr>
                  <a:spLocks/>
                </p:cNvSpPr>
                <p:nvPr/>
              </p:nvSpPr>
              <p:spPr bwMode="auto">
                <a:xfrm>
                  <a:off x="2411413" y="2598738"/>
                  <a:ext cx="131763" cy="1655763"/>
                </a:xfrm>
                <a:custGeom>
                  <a:avLst/>
                  <a:gdLst>
                    <a:gd name="T0" fmla="*/ 14 w 27"/>
                    <a:gd name="T1" fmla="*/ 0 h 340"/>
                    <a:gd name="T2" fmla="*/ 15 w 27"/>
                    <a:gd name="T3" fmla="*/ 5 h 340"/>
                    <a:gd name="T4" fmla="*/ 22 w 27"/>
                    <a:gd name="T5" fmla="*/ 59 h 340"/>
                    <a:gd name="T6" fmla="*/ 3 w 27"/>
                    <a:gd name="T7" fmla="*/ 161 h 340"/>
                    <a:gd name="T8" fmla="*/ 6 w 27"/>
                    <a:gd name="T9" fmla="*/ 235 h 340"/>
                    <a:gd name="T10" fmla="*/ 23 w 27"/>
                    <a:gd name="T11" fmla="*/ 340 h 340"/>
                    <a:gd name="T12" fmla="*/ 27 w 27"/>
                    <a:gd name="T13" fmla="*/ 340 h 340"/>
                    <a:gd name="T14" fmla="*/ 10 w 27"/>
                    <a:gd name="T15" fmla="*/ 239 h 340"/>
                    <a:gd name="T16" fmla="*/ 7 w 27"/>
                    <a:gd name="T17" fmla="*/ 165 h 340"/>
                    <a:gd name="T18" fmla="*/ 26 w 27"/>
                    <a:gd name="T19" fmla="*/ 64 h 340"/>
                    <a:gd name="T20" fmla="*/ 14 w 27"/>
                    <a:gd name="T21" fmla="*/ 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7" h="340">
                      <a:moveTo>
                        <a:pt x="14" y="0"/>
                      </a:moveTo>
                      <a:cubicBezTo>
                        <a:pt x="14" y="2"/>
                        <a:pt x="14" y="4"/>
                        <a:pt x="15" y="5"/>
                      </a:cubicBezTo>
                      <a:cubicBezTo>
                        <a:pt x="22" y="22"/>
                        <a:pt x="23" y="45"/>
                        <a:pt x="22" y="59"/>
                      </a:cubicBezTo>
                      <a:cubicBezTo>
                        <a:pt x="21" y="83"/>
                        <a:pt x="5" y="134"/>
                        <a:pt x="3" y="161"/>
                      </a:cubicBezTo>
                      <a:cubicBezTo>
                        <a:pt x="0" y="188"/>
                        <a:pt x="8" y="211"/>
                        <a:pt x="6" y="235"/>
                      </a:cubicBezTo>
                      <a:cubicBezTo>
                        <a:pt x="4" y="254"/>
                        <a:pt x="21" y="296"/>
                        <a:pt x="23" y="340"/>
                      </a:cubicBezTo>
                      <a:cubicBezTo>
                        <a:pt x="27" y="340"/>
                        <a:pt x="27" y="340"/>
                        <a:pt x="27" y="340"/>
                      </a:cubicBezTo>
                      <a:cubicBezTo>
                        <a:pt x="24" y="297"/>
                        <a:pt x="8" y="258"/>
                        <a:pt x="10" y="239"/>
                      </a:cubicBezTo>
                      <a:cubicBezTo>
                        <a:pt x="12" y="216"/>
                        <a:pt x="5" y="192"/>
                        <a:pt x="7" y="165"/>
                      </a:cubicBezTo>
                      <a:cubicBezTo>
                        <a:pt x="9" y="138"/>
                        <a:pt x="25" y="87"/>
                        <a:pt x="26" y="64"/>
                      </a:cubicBezTo>
                      <a:cubicBezTo>
                        <a:pt x="27" y="47"/>
                        <a:pt x="26" y="17"/>
                        <a:pt x="14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0" name="Freeform 65"/>
                <p:cNvSpPr>
                  <a:spLocks/>
                </p:cNvSpPr>
                <p:nvPr/>
              </p:nvSpPr>
              <p:spPr bwMode="auto">
                <a:xfrm>
                  <a:off x="2459038" y="2565401"/>
                  <a:ext cx="20638" cy="33338"/>
                </a:xfrm>
                <a:custGeom>
                  <a:avLst/>
                  <a:gdLst>
                    <a:gd name="T0" fmla="*/ 0 w 4"/>
                    <a:gd name="T1" fmla="*/ 0 h 7"/>
                    <a:gd name="T2" fmla="*/ 2 w 4"/>
                    <a:gd name="T3" fmla="*/ 5 h 7"/>
                    <a:gd name="T4" fmla="*/ 4 w 4"/>
                    <a:gd name="T5" fmla="*/ 7 h 7"/>
                    <a:gd name="T6" fmla="*/ 0 w 4"/>
                    <a:gd name="T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7">
                      <a:moveTo>
                        <a:pt x="0" y="0"/>
                      </a:moveTo>
                      <a:cubicBezTo>
                        <a:pt x="1" y="2"/>
                        <a:pt x="1" y="3"/>
                        <a:pt x="2" y="5"/>
                      </a:cubicBezTo>
                      <a:cubicBezTo>
                        <a:pt x="2" y="6"/>
                        <a:pt x="3" y="6"/>
                        <a:pt x="4" y="7"/>
                      </a:cubicBezTo>
                      <a:cubicBezTo>
                        <a:pt x="3" y="4"/>
                        <a:pt x="2" y="2"/>
                        <a:pt x="0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1" name="Freeform 66"/>
                <p:cNvSpPr>
                  <a:spLocks/>
                </p:cNvSpPr>
                <p:nvPr/>
              </p:nvSpPr>
              <p:spPr bwMode="auto">
                <a:xfrm>
                  <a:off x="2470151" y="2589213"/>
                  <a:ext cx="14288" cy="33338"/>
                </a:xfrm>
                <a:custGeom>
                  <a:avLst/>
                  <a:gdLst>
                    <a:gd name="T0" fmla="*/ 0 w 3"/>
                    <a:gd name="T1" fmla="*/ 0 h 7"/>
                    <a:gd name="T2" fmla="*/ 0 w 3"/>
                    <a:gd name="T3" fmla="*/ 2 h 7"/>
                    <a:gd name="T4" fmla="*/ 3 w 3"/>
                    <a:gd name="T5" fmla="*/ 7 h 7"/>
                    <a:gd name="T6" fmla="*/ 2 w 3"/>
                    <a:gd name="T7" fmla="*/ 2 h 7"/>
                    <a:gd name="T8" fmla="*/ 0 w 3"/>
                    <a:gd name="T9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7">
                      <a:moveTo>
                        <a:pt x="0" y="0"/>
                      </a:moveTo>
                      <a:cubicBezTo>
                        <a:pt x="0" y="1"/>
                        <a:pt x="0" y="1"/>
                        <a:pt x="0" y="2"/>
                      </a:cubicBezTo>
                      <a:cubicBezTo>
                        <a:pt x="1" y="4"/>
                        <a:pt x="2" y="6"/>
                        <a:pt x="3" y="7"/>
                      </a:cubicBezTo>
                      <a:cubicBezTo>
                        <a:pt x="2" y="6"/>
                        <a:pt x="2" y="4"/>
                        <a:pt x="2" y="2"/>
                      </a:cubicBez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1B1D1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2" name="Freeform 68"/>
                <p:cNvSpPr>
                  <a:spLocks/>
                </p:cNvSpPr>
                <p:nvPr/>
              </p:nvSpPr>
              <p:spPr bwMode="auto">
                <a:xfrm>
                  <a:off x="1120776" y="3286126"/>
                  <a:ext cx="311150" cy="2725738"/>
                </a:xfrm>
                <a:custGeom>
                  <a:avLst/>
                  <a:gdLst>
                    <a:gd name="T0" fmla="*/ 0 w 64"/>
                    <a:gd name="T1" fmla="*/ 560 h 560"/>
                    <a:gd name="T2" fmla="*/ 62 w 64"/>
                    <a:gd name="T3" fmla="*/ 313 h 560"/>
                    <a:gd name="T4" fmla="*/ 57 w 64"/>
                    <a:gd name="T5" fmla="*/ 0 h 5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4" h="560">
                      <a:moveTo>
                        <a:pt x="0" y="560"/>
                      </a:moveTo>
                      <a:cubicBezTo>
                        <a:pt x="19" y="510"/>
                        <a:pt x="64" y="401"/>
                        <a:pt x="62" y="313"/>
                      </a:cubicBezTo>
                      <a:cubicBezTo>
                        <a:pt x="59" y="218"/>
                        <a:pt x="19" y="10"/>
                        <a:pt x="57" y="0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3" name="Freeform 69"/>
                <p:cNvSpPr>
                  <a:spLocks/>
                </p:cNvSpPr>
                <p:nvPr/>
              </p:nvSpPr>
              <p:spPr bwMode="auto">
                <a:xfrm>
                  <a:off x="1120776" y="2492376"/>
                  <a:ext cx="1436688" cy="3519488"/>
                </a:xfrm>
                <a:custGeom>
                  <a:avLst/>
                  <a:gdLst>
                    <a:gd name="T0" fmla="*/ 57 w 295"/>
                    <a:gd name="T1" fmla="*/ 163 h 723"/>
                    <a:gd name="T2" fmla="*/ 129 w 295"/>
                    <a:gd name="T3" fmla="*/ 133 h 723"/>
                    <a:gd name="T4" fmla="*/ 191 w 295"/>
                    <a:gd name="T5" fmla="*/ 104 h 723"/>
                    <a:gd name="T6" fmla="*/ 202 w 295"/>
                    <a:gd name="T7" fmla="*/ 50 h 723"/>
                    <a:gd name="T8" fmla="*/ 255 w 295"/>
                    <a:gd name="T9" fmla="*/ 5 h 723"/>
                    <a:gd name="T10" fmla="*/ 287 w 295"/>
                    <a:gd name="T11" fmla="*/ 81 h 723"/>
                    <a:gd name="T12" fmla="*/ 268 w 295"/>
                    <a:gd name="T13" fmla="*/ 183 h 723"/>
                    <a:gd name="T14" fmla="*/ 271 w 295"/>
                    <a:gd name="T15" fmla="*/ 257 h 723"/>
                    <a:gd name="T16" fmla="*/ 287 w 295"/>
                    <a:gd name="T17" fmla="*/ 394 h 723"/>
                    <a:gd name="T18" fmla="*/ 231 w 295"/>
                    <a:gd name="T19" fmla="*/ 549 h 723"/>
                    <a:gd name="T20" fmla="*/ 188 w 295"/>
                    <a:gd name="T21" fmla="*/ 723 h 723"/>
                    <a:gd name="T22" fmla="*/ 0 w 295"/>
                    <a:gd name="T23" fmla="*/ 723 h 723"/>
                    <a:gd name="T24" fmla="*/ 57 w 295"/>
                    <a:gd name="T25" fmla="*/ 163 h 7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95" h="723">
                      <a:moveTo>
                        <a:pt x="57" y="163"/>
                      </a:moveTo>
                      <a:cubicBezTo>
                        <a:pt x="72" y="151"/>
                        <a:pt x="106" y="143"/>
                        <a:pt x="129" y="133"/>
                      </a:cubicBezTo>
                      <a:cubicBezTo>
                        <a:pt x="153" y="122"/>
                        <a:pt x="185" y="107"/>
                        <a:pt x="191" y="104"/>
                      </a:cubicBezTo>
                      <a:cubicBezTo>
                        <a:pt x="196" y="101"/>
                        <a:pt x="195" y="74"/>
                        <a:pt x="202" y="50"/>
                      </a:cubicBezTo>
                      <a:cubicBezTo>
                        <a:pt x="210" y="27"/>
                        <a:pt x="224" y="0"/>
                        <a:pt x="255" y="5"/>
                      </a:cubicBezTo>
                      <a:cubicBezTo>
                        <a:pt x="286" y="11"/>
                        <a:pt x="288" y="58"/>
                        <a:pt x="287" y="81"/>
                      </a:cubicBezTo>
                      <a:cubicBezTo>
                        <a:pt x="286" y="105"/>
                        <a:pt x="270" y="156"/>
                        <a:pt x="268" y="183"/>
                      </a:cubicBezTo>
                      <a:cubicBezTo>
                        <a:pt x="265" y="210"/>
                        <a:pt x="273" y="233"/>
                        <a:pt x="271" y="257"/>
                      </a:cubicBezTo>
                      <a:cubicBezTo>
                        <a:pt x="269" y="281"/>
                        <a:pt x="295" y="339"/>
                        <a:pt x="287" y="394"/>
                      </a:cubicBezTo>
                      <a:cubicBezTo>
                        <a:pt x="279" y="449"/>
                        <a:pt x="249" y="502"/>
                        <a:pt x="231" y="549"/>
                      </a:cubicBezTo>
                      <a:cubicBezTo>
                        <a:pt x="215" y="594"/>
                        <a:pt x="192" y="670"/>
                        <a:pt x="188" y="723"/>
                      </a:cubicBezTo>
                      <a:cubicBezTo>
                        <a:pt x="0" y="723"/>
                        <a:pt x="0" y="723"/>
                        <a:pt x="0" y="723"/>
                      </a:cubicBezTo>
                      <a:cubicBezTo>
                        <a:pt x="57" y="163"/>
                        <a:pt x="57" y="163"/>
                        <a:pt x="57" y="163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4" name="Freeform 70"/>
                <p:cNvSpPr>
                  <a:spLocks/>
                </p:cNvSpPr>
                <p:nvPr/>
              </p:nvSpPr>
              <p:spPr bwMode="auto">
                <a:xfrm>
                  <a:off x="2060576" y="2968626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C1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5" name="Freeform 71"/>
                <p:cNvSpPr>
                  <a:spLocks noEditPoints="1"/>
                </p:cNvSpPr>
                <p:nvPr/>
              </p:nvSpPr>
              <p:spPr bwMode="auto">
                <a:xfrm>
                  <a:off x="1700213" y="2968626"/>
                  <a:ext cx="360363" cy="842963"/>
                </a:xfrm>
                <a:custGeom>
                  <a:avLst/>
                  <a:gdLst>
                    <a:gd name="T0" fmla="*/ 74 w 74"/>
                    <a:gd name="T1" fmla="*/ 3 h 173"/>
                    <a:gd name="T2" fmla="*/ 56 w 74"/>
                    <a:gd name="T3" fmla="*/ 50 h 173"/>
                    <a:gd name="T4" fmla="*/ 52 w 74"/>
                    <a:gd name="T5" fmla="*/ 49 h 173"/>
                    <a:gd name="T6" fmla="*/ 39 w 74"/>
                    <a:gd name="T7" fmla="*/ 44 h 173"/>
                    <a:gd name="T8" fmla="*/ 51 w 74"/>
                    <a:gd name="T9" fmla="*/ 57 h 173"/>
                    <a:gd name="T10" fmla="*/ 57 w 74"/>
                    <a:gd name="T11" fmla="*/ 66 h 173"/>
                    <a:gd name="T12" fmla="*/ 9 w 74"/>
                    <a:gd name="T13" fmla="*/ 53 h 173"/>
                    <a:gd name="T14" fmla="*/ 4 w 74"/>
                    <a:gd name="T15" fmla="*/ 53 h 173"/>
                    <a:gd name="T16" fmla="*/ 58 w 74"/>
                    <a:gd name="T17" fmla="*/ 83 h 173"/>
                    <a:gd name="T18" fmla="*/ 53 w 74"/>
                    <a:gd name="T19" fmla="*/ 92 h 173"/>
                    <a:gd name="T20" fmla="*/ 16 w 74"/>
                    <a:gd name="T21" fmla="*/ 77 h 173"/>
                    <a:gd name="T22" fmla="*/ 12 w 74"/>
                    <a:gd name="T23" fmla="*/ 76 h 173"/>
                    <a:gd name="T24" fmla="*/ 49 w 74"/>
                    <a:gd name="T25" fmla="*/ 108 h 173"/>
                    <a:gd name="T26" fmla="*/ 21 w 74"/>
                    <a:gd name="T27" fmla="*/ 139 h 173"/>
                    <a:gd name="T28" fmla="*/ 14 w 74"/>
                    <a:gd name="T29" fmla="*/ 144 h 173"/>
                    <a:gd name="T30" fmla="*/ 32 w 74"/>
                    <a:gd name="T31" fmla="*/ 142 h 173"/>
                    <a:gd name="T32" fmla="*/ 32 w 74"/>
                    <a:gd name="T33" fmla="*/ 142 h 173"/>
                    <a:gd name="T34" fmla="*/ 30 w 74"/>
                    <a:gd name="T35" fmla="*/ 158 h 173"/>
                    <a:gd name="T36" fmla="*/ 20 w 74"/>
                    <a:gd name="T37" fmla="*/ 173 h 173"/>
                    <a:gd name="T38" fmla="*/ 20 w 74"/>
                    <a:gd name="T39" fmla="*/ 173 h 173"/>
                    <a:gd name="T40" fmla="*/ 33 w 74"/>
                    <a:gd name="T41" fmla="*/ 158 h 173"/>
                    <a:gd name="T42" fmla="*/ 74 w 74"/>
                    <a:gd name="T43" fmla="*/ 3 h 173"/>
                    <a:gd name="T44" fmla="*/ 74 w 74"/>
                    <a:gd name="T45" fmla="*/ 0 h 173"/>
                    <a:gd name="T46" fmla="*/ 74 w 74"/>
                    <a:gd name="T47" fmla="*/ 1 h 173"/>
                    <a:gd name="T48" fmla="*/ 74 w 74"/>
                    <a:gd name="T49" fmla="*/ 3 h 173"/>
                    <a:gd name="T50" fmla="*/ 74 w 74"/>
                    <a:gd name="T51" fmla="*/ 0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74" h="173">
                      <a:moveTo>
                        <a:pt x="74" y="3"/>
                      </a:moveTo>
                      <a:cubicBezTo>
                        <a:pt x="69" y="39"/>
                        <a:pt x="63" y="50"/>
                        <a:pt x="56" y="50"/>
                      </a:cubicBezTo>
                      <a:cubicBezTo>
                        <a:pt x="55" y="50"/>
                        <a:pt x="54" y="49"/>
                        <a:pt x="52" y="49"/>
                      </a:cubicBezTo>
                      <a:cubicBezTo>
                        <a:pt x="48" y="47"/>
                        <a:pt x="41" y="44"/>
                        <a:pt x="39" y="44"/>
                      </a:cubicBezTo>
                      <a:cubicBezTo>
                        <a:pt x="36" y="44"/>
                        <a:pt x="38" y="47"/>
                        <a:pt x="51" y="57"/>
                      </a:cubicBezTo>
                      <a:cubicBezTo>
                        <a:pt x="59" y="64"/>
                        <a:pt x="60" y="66"/>
                        <a:pt x="57" y="66"/>
                      </a:cubicBezTo>
                      <a:cubicBezTo>
                        <a:pt x="50" y="66"/>
                        <a:pt x="24" y="56"/>
                        <a:pt x="9" y="53"/>
                      </a:cubicBezTo>
                      <a:cubicBezTo>
                        <a:pt x="6" y="53"/>
                        <a:pt x="5" y="53"/>
                        <a:pt x="4" y="53"/>
                      </a:cubicBezTo>
                      <a:cubicBezTo>
                        <a:pt x="0" y="53"/>
                        <a:pt x="56" y="64"/>
                        <a:pt x="58" y="83"/>
                      </a:cubicBezTo>
                      <a:cubicBezTo>
                        <a:pt x="59" y="89"/>
                        <a:pt x="57" y="92"/>
                        <a:pt x="53" y="92"/>
                      </a:cubicBezTo>
                      <a:cubicBezTo>
                        <a:pt x="44" y="92"/>
                        <a:pt x="27" y="81"/>
                        <a:pt x="16" y="77"/>
                      </a:cubicBezTo>
                      <a:cubicBezTo>
                        <a:pt x="14" y="77"/>
                        <a:pt x="13" y="76"/>
                        <a:pt x="12" y="76"/>
                      </a:cubicBezTo>
                      <a:cubicBezTo>
                        <a:pt x="7" y="76"/>
                        <a:pt x="42" y="98"/>
                        <a:pt x="49" y="108"/>
                      </a:cubicBezTo>
                      <a:cubicBezTo>
                        <a:pt x="58" y="119"/>
                        <a:pt x="41" y="133"/>
                        <a:pt x="21" y="139"/>
                      </a:cubicBezTo>
                      <a:cubicBezTo>
                        <a:pt x="10" y="143"/>
                        <a:pt x="9" y="144"/>
                        <a:pt x="14" y="144"/>
                      </a:cubicBezTo>
                      <a:cubicBezTo>
                        <a:pt x="17" y="144"/>
                        <a:pt x="24" y="143"/>
                        <a:pt x="32" y="142"/>
                      </a:cubicBezTo>
                      <a:cubicBezTo>
                        <a:pt x="32" y="142"/>
                        <a:pt x="32" y="142"/>
                        <a:pt x="32" y="142"/>
                      </a:cubicBezTo>
                      <a:cubicBezTo>
                        <a:pt x="38" y="142"/>
                        <a:pt x="35" y="150"/>
                        <a:pt x="30" y="158"/>
                      </a:cubicBezTo>
                      <a:cubicBezTo>
                        <a:pt x="26" y="165"/>
                        <a:pt x="20" y="173"/>
                        <a:pt x="20" y="173"/>
                      </a:cubicBezTo>
                      <a:cubicBezTo>
                        <a:pt x="20" y="173"/>
                        <a:pt x="20" y="173"/>
                        <a:pt x="20" y="173"/>
                      </a:cubicBezTo>
                      <a:cubicBezTo>
                        <a:pt x="21" y="173"/>
                        <a:pt x="24" y="169"/>
                        <a:pt x="33" y="158"/>
                      </a:cubicBezTo>
                      <a:cubicBezTo>
                        <a:pt x="67" y="116"/>
                        <a:pt x="71" y="25"/>
                        <a:pt x="74" y="3"/>
                      </a:cubicBezTo>
                      <a:moveTo>
                        <a:pt x="74" y="0"/>
                      </a:moveTo>
                      <a:cubicBezTo>
                        <a:pt x="74" y="1"/>
                        <a:pt x="74" y="1"/>
                        <a:pt x="74" y="1"/>
                      </a:cubicBezTo>
                      <a:cubicBezTo>
                        <a:pt x="74" y="1"/>
                        <a:pt x="74" y="2"/>
                        <a:pt x="74" y="3"/>
                      </a:cubicBezTo>
                      <a:cubicBezTo>
                        <a:pt x="74" y="2"/>
                        <a:pt x="74" y="1"/>
                        <a:pt x="7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6" name="Freeform 72"/>
                <p:cNvSpPr>
                  <a:spLocks noEditPoints="1"/>
                </p:cNvSpPr>
                <p:nvPr/>
              </p:nvSpPr>
              <p:spPr bwMode="auto">
                <a:xfrm>
                  <a:off x="2114551" y="2998788"/>
                  <a:ext cx="315913" cy="146050"/>
                </a:xfrm>
                <a:custGeom>
                  <a:avLst/>
                  <a:gdLst>
                    <a:gd name="T0" fmla="*/ 9 w 65"/>
                    <a:gd name="T1" fmla="*/ 18 h 30"/>
                    <a:gd name="T2" fmla="*/ 58 w 65"/>
                    <a:gd name="T3" fmla="*/ 30 h 30"/>
                    <a:gd name="T4" fmla="*/ 59 w 65"/>
                    <a:gd name="T5" fmla="*/ 30 h 30"/>
                    <a:gd name="T6" fmla="*/ 65 w 65"/>
                    <a:gd name="T7" fmla="*/ 30 h 30"/>
                    <a:gd name="T8" fmla="*/ 65 w 65"/>
                    <a:gd name="T9" fmla="*/ 30 h 30"/>
                    <a:gd name="T10" fmla="*/ 9 w 65"/>
                    <a:gd name="T11" fmla="*/ 18 h 30"/>
                    <a:gd name="T12" fmla="*/ 14 w 65"/>
                    <a:gd name="T13" fmla="*/ 0 h 30"/>
                    <a:gd name="T14" fmla="*/ 12 w 65"/>
                    <a:gd name="T15" fmla="*/ 0 h 30"/>
                    <a:gd name="T16" fmla="*/ 0 w 65"/>
                    <a:gd name="T17" fmla="*/ 1 h 30"/>
                    <a:gd name="T18" fmla="*/ 29 w 65"/>
                    <a:gd name="T19" fmla="*/ 4 h 30"/>
                    <a:gd name="T20" fmla="*/ 43 w 65"/>
                    <a:gd name="T21" fmla="*/ 2 h 30"/>
                    <a:gd name="T22" fmla="*/ 14 w 65"/>
                    <a:gd name="T23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5" h="30">
                      <a:moveTo>
                        <a:pt x="9" y="18"/>
                      </a:moveTo>
                      <a:cubicBezTo>
                        <a:pt x="22" y="24"/>
                        <a:pt x="44" y="30"/>
                        <a:pt x="58" y="30"/>
                      </a:cubicBezTo>
                      <a:cubicBezTo>
                        <a:pt x="59" y="30"/>
                        <a:pt x="59" y="30"/>
                        <a:pt x="59" y="30"/>
                      </a:cubicBezTo>
                      <a:cubicBezTo>
                        <a:pt x="62" y="30"/>
                        <a:pt x="64" y="30"/>
                        <a:pt x="65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55" y="29"/>
                        <a:pt x="26" y="21"/>
                        <a:pt x="9" y="18"/>
                      </a:cubicBezTo>
                      <a:moveTo>
                        <a:pt x="14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8" y="0"/>
                        <a:pt x="3" y="0"/>
                        <a:pt x="0" y="1"/>
                      </a:cubicBezTo>
                      <a:cubicBezTo>
                        <a:pt x="5" y="2"/>
                        <a:pt x="17" y="4"/>
                        <a:pt x="29" y="4"/>
                      </a:cubicBezTo>
                      <a:cubicBezTo>
                        <a:pt x="34" y="4"/>
                        <a:pt x="39" y="4"/>
                        <a:pt x="43" y="2"/>
                      </a:cubicBezTo>
                      <a:cubicBezTo>
                        <a:pt x="36" y="2"/>
                        <a:pt x="24" y="0"/>
                        <a:pt x="1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7" name="Freeform 73"/>
                <p:cNvSpPr>
                  <a:spLocks noEditPoints="1"/>
                </p:cNvSpPr>
                <p:nvPr/>
              </p:nvSpPr>
              <p:spPr bwMode="auto">
                <a:xfrm>
                  <a:off x="2211388" y="2497138"/>
                  <a:ext cx="247650" cy="68263"/>
                </a:xfrm>
                <a:custGeom>
                  <a:avLst/>
                  <a:gdLst>
                    <a:gd name="T0" fmla="*/ 34 w 51"/>
                    <a:gd name="T1" fmla="*/ 2 h 14"/>
                    <a:gd name="T2" fmla="*/ 34 w 51"/>
                    <a:gd name="T3" fmla="*/ 2 h 14"/>
                    <a:gd name="T4" fmla="*/ 37 w 51"/>
                    <a:gd name="T5" fmla="*/ 3 h 14"/>
                    <a:gd name="T6" fmla="*/ 37 w 51"/>
                    <a:gd name="T7" fmla="*/ 3 h 14"/>
                    <a:gd name="T8" fmla="*/ 36 w 51"/>
                    <a:gd name="T9" fmla="*/ 6 h 14"/>
                    <a:gd name="T10" fmla="*/ 51 w 51"/>
                    <a:gd name="T11" fmla="*/ 14 h 14"/>
                    <a:gd name="T12" fmla="*/ 34 w 51"/>
                    <a:gd name="T13" fmla="*/ 2 h 14"/>
                    <a:gd name="T14" fmla="*/ 26 w 51"/>
                    <a:gd name="T15" fmla="*/ 0 h 14"/>
                    <a:gd name="T16" fmla="*/ 26 w 51"/>
                    <a:gd name="T17" fmla="*/ 0 h 14"/>
                    <a:gd name="T18" fmla="*/ 26 w 51"/>
                    <a:gd name="T19" fmla="*/ 0 h 14"/>
                    <a:gd name="T20" fmla="*/ 20 w 51"/>
                    <a:gd name="T21" fmla="*/ 0 h 14"/>
                    <a:gd name="T22" fmla="*/ 0 w 51"/>
                    <a:gd name="T23" fmla="*/ 12 h 14"/>
                    <a:gd name="T24" fmla="*/ 19 w 51"/>
                    <a:gd name="T25" fmla="*/ 4 h 14"/>
                    <a:gd name="T26" fmla="*/ 19 w 51"/>
                    <a:gd name="T27" fmla="*/ 0 h 14"/>
                    <a:gd name="T28" fmla="*/ 20 w 51"/>
                    <a:gd name="T29" fmla="*/ 0 h 14"/>
                    <a:gd name="T30" fmla="*/ 26 w 51"/>
                    <a:gd name="T31" fmla="*/ 0 h 14"/>
                    <a:gd name="T32" fmla="*/ 20 w 51"/>
                    <a:gd name="T3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1" h="14">
                      <a:moveTo>
                        <a:pt x="34" y="2"/>
                      </a:moveTo>
                      <a:cubicBezTo>
                        <a:pt x="34" y="2"/>
                        <a:pt x="34" y="2"/>
                        <a:pt x="34" y="2"/>
                      </a:cubicBezTo>
                      <a:cubicBezTo>
                        <a:pt x="35" y="2"/>
                        <a:pt x="36" y="2"/>
                        <a:pt x="37" y="3"/>
                      </a:cubicBezTo>
                      <a:cubicBezTo>
                        <a:pt x="37" y="3"/>
                        <a:pt x="37" y="3"/>
                        <a:pt x="37" y="3"/>
                      </a:cubicBezTo>
                      <a:cubicBezTo>
                        <a:pt x="36" y="6"/>
                        <a:pt x="36" y="6"/>
                        <a:pt x="36" y="6"/>
                      </a:cubicBezTo>
                      <a:cubicBezTo>
                        <a:pt x="43" y="7"/>
                        <a:pt x="48" y="10"/>
                        <a:pt x="51" y="14"/>
                      </a:cubicBezTo>
                      <a:cubicBezTo>
                        <a:pt x="48" y="7"/>
                        <a:pt x="42" y="4"/>
                        <a:pt x="34" y="2"/>
                      </a:cubicBezTo>
                      <a:moveTo>
                        <a:pt x="26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moveTo>
                        <a:pt x="20" y="0"/>
                      </a:moveTo>
                      <a:cubicBezTo>
                        <a:pt x="9" y="0"/>
                        <a:pt x="3" y="4"/>
                        <a:pt x="0" y="12"/>
                      </a:cubicBezTo>
                      <a:cubicBezTo>
                        <a:pt x="5" y="8"/>
                        <a:pt x="11" y="5"/>
                        <a:pt x="19" y="4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2" y="0"/>
                        <a:pt x="24" y="0"/>
                        <a:pt x="26" y="0"/>
                      </a:cubicBezTo>
                      <a:cubicBezTo>
                        <a:pt x="24" y="0"/>
                        <a:pt x="22" y="0"/>
                        <a:pt x="20" y="0"/>
                      </a:cubicBezTo>
                    </a:path>
                  </a:pathLst>
                </a:custGeom>
                <a:solidFill>
                  <a:srgbClr val="7674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8" name="Freeform 74"/>
                <p:cNvSpPr>
                  <a:spLocks/>
                </p:cNvSpPr>
                <p:nvPr/>
              </p:nvSpPr>
              <p:spPr bwMode="auto">
                <a:xfrm>
                  <a:off x="2386013" y="2525713"/>
                  <a:ext cx="84138" cy="63500"/>
                </a:xfrm>
                <a:custGeom>
                  <a:avLst/>
                  <a:gdLst>
                    <a:gd name="T0" fmla="*/ 0 w 17"/>
                    <a:gd name="T1" fmla="*/ 0 h 13"/>
                    <a:gd name="T2" fmla="*/ 0 w 17"/>
                    <a:gd name="T3" fmla="*/ 0 h 13"/>
                    <a:gd name="T4" fmla="*/ 13 w 17"/>
                    <a:gd name="T5" fmla="*/ 9 h 13"/>
                    <a:gd name="T6" fmla="*/ 17 w 17"/>
                    <a:gd name="T7" fmla="*/ 13 h 13"/>
                    <a:gd name="T8" fmla="*/ 15 w 17"/>
                    <a:gd name="T9" fmla="*/ 8 h 13"/>
                    <a:gd name="T10" fmla="*/ 0 w 17"/>
                    <a:gd name="T1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" h="1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2"/>
                        <a:pt x="9" y="5"/>
                        <a:pt x="13" y="9"/>
                      </a:cubicBezTo>
                      <a:cubicBezTo>
                        <a:pt x="14" y="10"/>
                        <a:pt x="16" y="11"/>
                        <a:pt x="17" y="13"/>
                      </a:cubicBezTo>
                      <a:cubicBezTo>
                        <a:pt x="16" y="11"/>
                        <a:pt x="16" y="10"/>
                        <a:pt x="15" y="8"/>
                      </a:cubicBezTo>
                      <a:cubicBezTo>
                        <a:pt x="12" y="4"/>
                        <a:pt x="7" y="1"/>
                        <a:pt x="0" y="0"/>
                      </a:cubicBezTo>
                    </a:path>
                  </a:pathLst>
                </a:custGeom>
                <a:solidFill>
                  <a:srgbClr val="74717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9" name="Freeform 75"/>
                <p:cNvSpPr>
                  <a:spLocks/>
                </p:cNvSpPr>
                <p:nvPr/>
              </p:nvSpPr>
              <p:spPr bwMode="auto">
                <a:xfrm>
                  <a:off x="2449513" y="2570163"/>
                  <a:ext cx="20638" cy="28575"/>
                </a:xfrm>
                <a:custGeom>
                  <a:avLst/>
                  <a:gdLst>
                    <a:gd name="T0" fmla="*/ 0 w 4"/>
                    <a:gd name="T1" fmla="*/ 0 h 6"/>
                    <a:gd name="T2" fmla="*/ 4 w 4"/>
                    <a:gd name="T3" fmla="*/ 6 h 6"/>
                    <a:gd name="T4" fmla="*/ 4 w 4"/>
                    <a:gd name="T5" fmla="*/ 4 h 6"/>
                    <a:gd name="T6" fmla="*/ 0 w 4"/>
                    <a:gd name="T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6">
                      <a:moveTo>
                        <a:pt x="0" y="0"/>
                      </a:moveTo>
                      <a:cubicBezTo>
                        <a:pt x="1" y="2"/>
                        <a:pt x="3" y="4"/>
                        <a:pt x="4" y="6"/>
                      </a:cubicBezTo>
                      <a:cubicBezTo>
                        <a:pt x="4" y="5"/>
                        <a:pt x="4" y="5"/>
                        <a:pt x="4" y="4"/>
                      </a:cubicBezTo>
                      <a:cubicBezTo>
                        <a:pt x="3" y="2"/>
                        <a:pt x="1" y="1"/>
                        <a:pt x="0" y="0"/>
                      </a:cubicBezTo>
                    </a:path>
                  </a:pathLst>
                </a:custGeom>
                <a:solidFill>
                  <a:srgbClr val="72707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0" name="Freeform 76"/>
                <p:cNvSpPr>
                  <a:spLocks noEditPoints="1"/>
                </p:cNvSpPr>
                <p:nvPr/>
              </p:nvSpPr>
              <p:spPr bwMode="auto">
                <a:xfrm>
                  <a:off x="2182813" y="2516188"/>
                  <a:ext cx="292100" cy="315913"/>
                </a:xfrm>
                <a:custGeom>
                  <a:avLst/>
                  <a:gdLst>
                    <a:gd name="T0" fmla="*/ 27 w 60"/>
                    <a:gd name="T1" fmla="*/ 64 h 65"/>
                    <a:gd name="T2" fmla="*/ 34 w 60"/>
                    <a:gd name="T3" fmla="*/ 65 h 65"/>
                    <a:gd name="T4" fmla="*/ 31 w 60"/>
                    <a:gd name="T5" fmla="*/ 64 h 65"/>
                    <a:gd name="T6" fmla="*/ 31 w 60"/>
                    <a:gd name="T7" fmla="*/ 64 h 65"/>
                    <a:gd name="T8" fmla="*/ 30 w 60"/>
                    <a:gd name="T9" fmla="*/ 64 h 65"/>
                    <a:gd name="T10" fmla="*/ 27 w 60"/>
                    <a:gd name="T11" fmla="*/ 64 h 65"/>
                    <a:gd name="T12" fmla="*/ 27 w 60"/>
                    <a:gd name="T13" fmla="*/ 64 h 65"/>
                    <a:gd name="T14" fmla="*/ 27 w 60"/>
                    <a:gd name="T15" fmla="*/ 64 h 65"/>
                    <a:gd name="T16" fmla="*/ 27 w 60"/>
                    <a:gd name="T17" fmla="*/ 64 h 65"/>
                    <a:gd name="T18" fmla="*/ 42 w 60"/>
                    <a:gd name="T19" fmla="*/ 2 h 65"/>
                    <a:gd name="T20" fmla="*/ 34 w 60"/>
                    <a:gd name="T21" fmla="*/ 65 h 65"/>
                    <a:gd name="T22" fmla="*/ 37 w 60"/>
                    <a:gd name="T23" fmla="*/ 65 h 65"/>
                    <a:gd name="T24" fmla="*/ 58 w 60"/>
                    <a:gd name="T25" fmla="*/ 35 h 65"/>
                    <a:gd name="T26" fmla="*/ 58 w 60"/>
                    <a:gd name="T27" fmla="*/ 35 h 65"/>
                    <a:gd name="T28" fmla="*/ 59 w 60"/>
                    <a:gd name="T29" fmla="*/ 17 h 65"/>
                    <a:gd name="T30" fmla="*/ 59 w 60"/>
                    <a:gd name="T31" fmla="*/ 17 h 65"/>
                    <a:gd name="T32" fmla="*/ 59 w 60"/>
                    <a:gd name="T33" fmla="*/ 17 h 65"/>
                    <a:gd name="T34" fmla="*/ 55 w 60"/>
                    <a:gd name="T35" fmla="*/ 11 h 65"/>
                    <a:gd name="T36" fmla="*/ 42 w 60"/>
                    <a:gd name="T37" fmla="*/ 2 h 65"/>
                    <a:gd name="T38" fmla="*/ 25 w 60"/>
                    <a:gd name="T39" fmla="*/ 0 h 65"/>
                    <a:gd name="T40" fmla="*/ 6 w 60"/>
                    <a:gd name="T41" fmla="*/ 8 h 65"/>
                    <a:gd name="T42" fmla="*/ 6 w 60"/>
                    <a:gd name="T43" fmla="*/ 8 h 65"/>
                    <a:gd name="T44" fmla="*/ 6 w 60"/>
                    <a:gd name="T45" fmla="*/ 8 h 65"/>
                    <a:gd name="T46" fmla="*/ 6 w 60"/>
                    <a:gd name="T47" fmla="*/ 8 h 65"/>
                    <a:gd name="T48" fmla="*/ 3 w 60"/>
                    <a:gd name="T49" fmla="*/ 19 h 65"/>
                    <a:gd name="T50" fmla="*/ 1 w 60"/>
                    <a:gd name="T51" fmla="*/ 28 h 65"/>
                    <a:gd name="T52" fmla="*/ 0 w 60"/>
                    <a:gd name="T53" fmla="*/ 40 h 65"/>
                    <a:gd name="T54" fmla="*/ 0 w 60"/>
                    <a:gd name="T55" fmla="*/ 40 h 65"/>
                    <a:gd name="T56" fmla="*/ 2 w 60"/>
                    <a:gd name="T57" fmla="*/ 50 h 65"/>
                    <a:gd name="T58" fmla="*/ 20 w 60"/>
                    <a:gd name="T59" fmla="*/ 62 h 65"/>
                    <a:gd name="T60" fmla="*/ 17 w 60"/>
                    <a:gd name="T61" fmla="*/ 61 h 65"/>
                    <a:gd name="T62" fmla="*/ 25 w 60"/>
                    <a:gd name="T63" fmla="*/ 0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0" h="65">
                      <a:moveTo>
                        <a:pt x="27" y="64"/>
                      </a:moveTo>
                      <a:cubicBezTo>
                        <a:pt x="30" y="64"/>
                        <a:pt x="32" y="64"/>
                        <a:pt x="34" y="65"/>
                      </a:cubicBezTo>
                      <a:cubicBezTo>
                        <a:pt x="33" y="65"/>
                        <a:pt x="32" y="64"/>
                        <a:pt x="31" y="64"/>
                      </a:cubicBezTo>
                      <a:cubicBezTo>
                        <a:pt x="31" y="64"/>
                        <a:pt x="31" y="64"/>
                        <a:pt x="31" y="64"/>
                      </a:cubicBezTo>
                      <a:cubicBezTo>
                        <a:pt x="31" y="64"/>
                        <a:pt x="31" y="64"/>
                        <a:pt x="30" y="64"/>
                      </a:cubicBezTo>
                      <a:cubicBezTo>
                        <a:pt x="29" y="64"/>
                        <a:pt x="28" y="64"/>
                        <a:pt x="27" y="64"/>
                      </a:cubicBezTo>
                      <a:moveTo>
                        <a:pt x="27" y="64"/>
                      </a:move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moveTo>
                        <a:pt x="42" y="2"/>
                      </a:moveTo>
                      <a:cubicBezTo>
                        <a:pt x="34" y="65"/>
                        <a:pt x="34" y="65"/>
                        <a:pt x="34" y="65"/>
                      </a:cubicBezTo>
                      <a:cubicBezTo>
                        <a:pt x="35" y="65"/>
                        <a:pt x="36" y="65"/>
                        <a:pt x="37" y="65"/>
                      </a:cubicBezTo>
                      <a:cubicBezTo>
                        <a:pt x="51" y="65"/>
                        <a:pt x="54" y="57"/>
                        <a:pt x="58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28"/>
                        <a:pt x="60" y="22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8" y="15"/>
                        <a:pt x="56" y="13"/>
                        <a:pt x="55" y="11"/>
                      </a:cubicBezTo>
                      <a:cubicBezTo>
                        <a:pt x="51" y="7"/>
                        <a:pt x="47" y="4"/>
                        <a:pt x="42" y="2"/>
                      </a:cubicBezTo>
                      <a:moveTo>
                        <a:pt x="25" y="0"/>
                      </a:moveTo>
                      <a:cubicBezTo>
                        <a:pt x="17" y="1"/>
                        <a:pt x="11" y="4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5" y="11"/>
                        <a:pt x="4" y="15"/>
                        <a:pt x="3" y="19"/>
                      </a:cubicBezTo>
                      <a:cubicBezTo>
                        <a:pt x="2" y="22"/>
                        <a:pt x="1" y="25"/>
                        <a:pt x="1" y="28"/>
                      </a:cubicBezTo>
                      <a:cubicBezTo>
                        <a:pt x="0" y="32"/>
                        <a:pt x="0" y="36"/>
                        <a:pt x="0" y="40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4"/>
                        <a:pt x="0" y="47"/>
                        <a:pt x="2" y="50"/>
                      </a:cubicBezTo>
                      <a:cubicBezTo>
                        <a:pt x="4" y="56"/>
                        <a:pt x="10" y="60"/>
                        <a:pt x="20" y="62"/>
                      </a:cubicBezTo>
                      <a:cubicBezTo>
                        <a:pt x="19" y="62"/>
                        <a:pt x="18" y="62"/>
                        <a:pt x="17" y="61"/>
                      </a:cubicBezTo>
                      <a:cubicBezTo>
                        <a:pt x="25" y="0"/>
                        <a:pt x="25" y="0"/>
                        <a:pt x="25" y="0"/>
                      </a:cubicBezTo>
                    </a:path>
                  </a:pathLst>
                </a:custGeom>
                <a:solidFill>
                  <a:srgbClr val="E8CD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1" name="Freeform 77"/>
                <p:cNvSpPr>
                  <a:spLocks/>
                </p:cNvSpPr>
                <p:nvPr/>
              </p:nvSpPr>
              <p:spPr bwMode="auto">
                <a:xfrm>
                  <a:off x="2157413" y="2555876"/>
                  <a:ext cx="322263" cy="287338"/>
                </a:xfrm>
                <a:custGeom>
                  <a:avLst/>
                  <a:gdLst>
                    <a:gd name="T0" fmla="*/ 11 w 66"/>
                    <a:gd name="T1" fmla="*/ 0 h 59"/>
                    <a:gd name="T2" fmla="*/ 8 w 66"/>
                    <a:gd name="T3" fmla="*/ 2 h 59"/>
                    <a:gd name="T4" fmla="*/ 4 w 66"/>
                    <a:gd name="T5" fmla="*/ 20 h 59"/>
                    <a:gd name="T6" fmla="*/ 30 w 66"/>
                    <a:gd name="T7" fmla="*/ 57 h 59"/>
                    <a:gd name="T8" fmla="*/ 42 w 66"/>
                    <a:gd name="T9" fmla="*/ 59 h 59"/>
                    <a:gd name="T10" fmla="*/ 43 w 66"/>
                    <a:gd name="T11" fmla="*/ 59 h 59"/>
                    <a:gd name="T12" fmla="*/ 65 w 66"/>
                    <a:gd name="T13" fmla="*/ 27 h 59"/>
                    <a:gd name="T14" fmla="*/ 66 w 66"/>
                    <a:gd name="T15" fmla="*/ 13 h 59"/>
                    <a:gd name="T16" fmla="*/ 64 w 66"/>
                    <a:gd name="T17" fmla="*/ 9 h 59"/>
                    <a:gd name="T18" fmla="*/ 65 w 66"/>
                    <a:gd name="T19" fmla="*/ 14 h 59"/>
                    <a:gd name="T20" fmla="*/ 65 w 66"/>
                    <a:gd name="T21" fmla="*/ 15 h 59"/>
                    <a:gd name="T22" fmla="*/ 63 w 66"/>
                    <a:gd name="T23" fmla="*/ 27 h 59"/>
                    <a:gd name="T24" fmla="*/ 63 w 66"/>
                    <a:gd name="T25" fmla="*/ 27 h 59"/>
                    <a:gd name="T26" fmla="*/ 42 w 66"/>
                    <a:gd name="T27" fmla="*/ 57 h 59"/>
                    <a:gd name="T28" fmla="*/ 42 w 66"/>
                    <a:gd name="T29" fmla="*/ 57 h 59"/>
                    <a:gd name="T30" fmla="*/ 42 w 66"/>
                    <a:gd name="T31" fmla="*/ 57 h 59"/>
                    <a:gd name="T32" fmla="*/ 39 w 66"/>
                    <a:gd name="T33" fmla="*/ 57 h 59"/>
                    <a:gd name="T34" fmla="*/ 39 w 66"/>
                    <a:gd name="T35" fmla="*/ 57 h 59"/>
                    <a:gd name="T36" fmla="*/ 39 w 66"/>
                    <a:gd name="T37" fmla="*/ 57 h 59"/>
                    <a:gd name="T38" fmla="*/ 32 w 66"/>
                    <a:gd name="T39" fmla="*/ 56 h 59"/>
                    <a:gd name="T40" fmla="*/ 32 w 66"/>
                    <a:gd name="T41" fmla="*/ 56 h 59"/>
                    <a:gd name="T42" fmla="*/ 30 w 66"/>
                    <a:gd name="T43" fmla="*/ 55 h 59"/>
                    <a:gd name="T44" fmla="*/ 29 w 66"/>
                    <a:gd name="T45" fmla="*/ 55 h 59"/>
                    <a:gd name="T46" fmla="*/ 26 w 66"/>
                    <a:gd name="T47" fmla="*/ 54 h 59"/>
                    <a:gd name="T48" fmla="*/ 26 w 66"/>
                    <a:gd name="T49" fmla="*/ 54 h 59"/>
                    <a:gd name="T50" fmla="*/ 26 w 66"/>
                    <a:gd name="T51" fmla="*/ 54 h 59"/>
                    <a:gd name="T52" fmla="*/ 7 w 66"/>
                    <a:gd name="T53" fmla="*/ 42 h 59"/>
                    <a:gd name="T54" fmla="*/ 6 w 66"/>
                    <a:gd name="T55" fmla="*/ 20 h 59"/>
                    <a:gd name="T56" fmla="*/ 8 w 66"/>
                    <a:gd name="T57" fmla="*/ 11 h 59"/>
                    <a:gd name="T58" fmla="*/ 11 w 66"/>
                    <a:gd name="T59" fmla="*/ 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6" h="59">
                      <a:moveTo>
                        <a:pt x="11" y="0"/>
                      </a:moveTo>
                      <a:cubicBezTo>
                        <a:pt x="10" y="1"/>
                        <a:pt x="9" y="1"/>
                        <a:pt x="8" y="2"/>
                      </a:cubicBezTo>
                      <a:cubicBezTo>
                        <a:pt x="7" y="7"/>
                        <a:pt x="6" y="13"/>
                        <a:pt x="4" y="20"/>
                      </a:cubicBezTo>
                      <a:cubicBezTo>
                        <a:pt x="0" y="43"/>
                        <a:pt x="5" y="53"/>
                        <a:pt x="30" y="57"/>
                      </a:cubicBezTo>
                      <a:cubicBezTo>
                        <a:pt x="35" y="58"/>
                        <a:pt x="39" y="59"/>
                        <a:pt x="42" y="59"/>
                      </a:cubicBezTo>
                      <a:cubicBezTo>
                        <a:pt x="43" y="59"/>
                        <a:pt x="43" y="59"/>
                        <a:pt x="43" y="59"/>
                      </a:cubicBezTo>
                      <a:cubicBezTo>
                        <a:pt x="57" y="58"/>
                        <a:pt x="61" y="50"/>
                        <a:pt x="65" y="27"/>
                      </a:cubicBezTo>
                      <a:cubicBezTo>
                        <a:pt x="66" y="22"/>
                        <a:pt x="66" y="17"/>
                        <a:pt x="66" y="13"/>
                      </a:cubicBezTo>
                      <a:cubicBezTo>
                        <a:pt x="66" y="12"/>
                        <a:pt x="65" y="11"/>
                        <a:pt x="64" y="9"/>
                      </a:cubicBezTo>
                      <a:cubicBezTo>
                        <a:pt x="64" y="11"/>
                        <a:pt x="65" y="13"/>
                        <a:pt x="65" y="14"/>
                      </a:cubicBezTo>
                      <a:cubicBezTo>
                        <a:pt x="65" y="15"/>
                        <a:pt x="65" y="15"/>
                        <a:pt x="65" y="15"/>
                      </a:cubicBezTo>
                      <a:cubicBezTo>
                        <a:pt x="65" y="18"/>
                        <a:pt x="64" y="22"/>
                        <a:pt x="63" y="2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59" y="49"/>
                        <a:pt x="56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1" y="57"/>
                        <a:pt x="40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7" y="56"/>
                        <a:pt x="35" y="56"/>
                        <a:pt x="32" y="56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1" y="56"/>
                        <a:pt x="31" y="55"/>
                        <a:pt x="30" y="55"/>
                      </a:cubicBezTo>
                      <a:cubicBezTo>
                        <a:pt x="30" y="55"/>
                        <a:pt x="30" y="55"/>
                        <a:pt x="29" y="55"/>
                      </a:cubicBezTo>
                      <a:cubicBezTo>
                        <a:pt x="28" y="55"/>
                        <a:pt x="27" y="55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15" y="52"/>
                        <a:pt x="9" y="48"/>
                        <a:pt x="7" y="42"/>
                      </a:cubicBezTo>
                      <a:cubicBezTo>
                        <a:pt x="4" y="37"/>
                        <a:pt x="4" y="29"/>
                        <a:pt x="6" y="20"/>
                      </a:cubicBezTo>
                      <a:cubicBezTo>
                        <a:pt x="6" y="17"/>
                        <a:pt x="7" y="14"/>
                        <a:pt x="8" y="11"/>
                      </a:cubicBezTo>
                      <a:cubicBezTo>
                        <a:pt x="9" y="7"/>
                        <a:pt x="10" y="3"/>
                        <a:pt x="11" y="0"/>
                      </a:cubicBezTo>
                    </a:path>
                  </a:pathLst>
                </a:custGeom>
                <a:solidFill>
                  <a:srgbClr val="B477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2" name="Freeform 78"/>
                <p:cNvSpPr>
                  <a:spLocks noEditPoints="1"/>
                </p:cNvSpPr>
                <p:nvPr/>
              </p:nvSpPr>
              <p:spPr bwMode="auto">
                <a:xfrm>
                  <a:off x="2192338" y="2555876"/>
                  <a:ext cx="282575" cy="276225"/>
                </a:xfrm>
                <a:custGeom>
                  <a:avLst/>
                  <a:gdLst>
                    <a:gd name="T0" fmla="*/ 32 w 58"/>
                    <a:gd name="T1" fmla="*/ 57 h 57"/>
                    <a:gd name="T2" fmla="*/ 32 w 58"/>
                    <a:gd name="T3" fmla="*/ 57 h 57"/>
                    <a:gd name="T4" fmla="*/ 35 w 58"/>
                    <a:gd name="T5" fmla="*/ 57 h 57"/>
                    <a:gd name="T6" fmla="*/ 35 w 58"/>
                    <a:gd name="T7" fmla="*/ 57 h 57"/>
                    <a:gd name="T8" fmla="*/ 32 w 58"/>
                    <a:gd name="T9" fmla="*/ 57 h 57"/>
                    <a:gd name="T10" fmla="*/ 25 w 58"/>
                    <a:gd name="T11" fmla="*/ 56 h 57"/>
                    <a:gd name="T12" fmla="*/ 32 w 58"/>
                    <a:gd name="T13" fmla="*/ 57 h 57"/>
                    <a:gd name="T14" fmla="*/ 32 w 58"/>
                    <a:gd name="T15" fmla="*/ 57 h 57"/>
                    <a:gd name="T16" fmla="*/ 25 w 58"/>
                    <a:gd name="T17" fmla="*/ 56 h 57"/>
                    <a:gd name="T18" fmla="*/ 25 w 58"/>
                    <a:gd name="T19" fmla="*/ 56 h 57"/>
                    <a:gd name="T20" fmla="*/ 25 w 58"/>
                    <a:gd name="T21" fmla="*/ 56 h 57"/>
                    <a:gd name="T22" fmla="*/ 25 w 58"/>
                    <a:gd name="T23" fmla="*/ 56 h 57"/>
                    <a:gd name="T24" fmla="*/ 25 w 58"/>
                    <a:gd name="T25" fmla="*/ 56 h 57"/>
                    <a:gd name="T26" fmla="*/ 25 w 58"/>
                    <a:gd name="T27" fmla="*/ 56 h 57"/>
                    <a:gd name="T28" fmla="*/ 25 w 58"/>
                    <a:gd name="T29" fmla="*/ 56 h 57"/>
                    <a:gd name="T30" fmla="*/ 19 w 58"/>
                    <a:gd name="T31" fmla="*/ 54 h 57"/>
                    <a:gd name="T32" fmla="*/ 19 w 58"/>
                    <a:gd name="T33" fmla="*/ 54 h 57"/>
                    <a:gd name="T34" fmla="*/ 19 w 58"/>
                    <a:gd name="T35" fmla="*/ 54 h 57"/>
                    <a:gd name="T36" fmla="*/ 0 w 58"/>
                    <a:gd name="T37" fmla="*/ 42 h 57"/>
                    <a:gd name="T38" fmla="*/ 19 w 58"/>
                    <a:gd name="T39" fmla="*/ 54 h 57"/>
                    <a:gd name="T40" fmla="*/ 18 w 58"/>
                    <a:gd name="T41" fmla="*/ 54 h 57"/>
                    <a:gd name="T42" fmla="*/ 0 w 58"/>
                    <a:gd name="T43" fmla="*/ 42 h 57"/>
                    <a:gd name="T44" fmla="*/ 57 w 58"/>
                    <a:gd name="T45" fmla="*/ 9 h 57"/>
                    <a:gd name="T46" fmla="*/ 56 w 58"/>
                    <a:gd name="T47" fmla="*/ 27 h 57"/>
                    <a:gd name="T48" fmla="*/ 56 w 58"/>
                    <a:gd name="T49" fmla="*/ 27 h 57"/>
                    <a:gd name="T50" fmla="*/ 56 w 58"/>
                    <a:gd name="T51" fmla="*/ 27 h 57"/>
                    <a:gd name="T52" fmla="*/ 58 w 58"/>
                    <a:gd name="T53" fmla="*/ 15 h 57"/>
                    <a:gd name="T54" fmla="*/ 58 w 58"/>
                    <a:gd name="T55" fmla="*/ 14 h 57"/>
                    <a:gd name="T56" fmla="*/ 57 w 58"/>
                    <a:gd name="T57" fmla="*/ 9 h 57"/>
                    <a:gd name="T58" fmla="*/ 57 w 58"/>
                    <a:gd name="T59" fmla="*/ 9 h 57"/>
                    <a:gd name="T60" fmla="*/ 4 w 58"/>
                    <a:gd name="T61" fmla="*/ 0 h 57"/>
                    <a:gd name="T62" fmla="*/ 4 w 58"/>
                    <a:gd name="T63" fmla="*/ 0 h 57"/>
                    <a:gd name="T64" fmla="*/ 4 w 58"/>
                    <a:gd name="T65" fmla="*/ 0 h 57"/>
                    <a:gd name="T66" fmla="*/ 1 w 58"/>
                    <a:gd name="T67" fmla="*/ 11 h 57"/>
                    <a:gd name="T68" fmla="*/ 4 w 58"/>
                    <a:gd name="T69" fmla="*/ 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8" h="57">
                      <a:moveTo>
                        <a:pt x="32" y="57"/>
                      </a:move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3" y="57"/>
                        <a:pt x="34" y="57"/>
                        <a:pt x="35" y="57"/>
                      </a:cubicBezTo>
                      <a:cubicBezTo>
                        <a:pt x="35" y="57"/>
                        <a:pt x="35" y="57"/>
                        <a:pt x="35" y="57"/>
                      </a:cubicBezTo>
                      <a:cubicBezTo>
                        <a:pt x="34" y="57"/>
                        <a:pt x="33" y="57"/>
                        <a:pt x="32" y="57"/>
                      </a:cubicBezTo>
                      <a:moveTo>
                        <a:pt x="25" y="56"/>
                      </a:moveTo>
                      <a:cubicBezTo>
                        <a:pt x="28" y="56"/>
                        <a:pt x="30" y="56"/>
                        <a:pt x="32" y="57"/>
                      </a:cubicBez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0" y="56"/>
                        <a:pt x="28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moveTo>
                        <a:pt x="19" y="54"/>
                      </a:moveTo>
                      <a:cubicBezTo>
                        <a:pt x="19" y="54"/>
                        <a:pt x="19" y="54"/>
                        <a:pt x="19" y="54"/>
                      </a:cubicBezTo>
                      <a:cubicBezTo>
                        <a:pt x="19" y="54"/>
                        <a:pt x="19" y="54"/>
                        <a:pt x="19" y="54"/>
                      </a:cubicBezTo>
                      <a:moveTo>
                        <a:pt x="0" y="42"/>
                      </a:moveTo>
                      <a:cubicBezTo>
                        <a:pt x="2" y="48"/>
                        <a:pt x="8" y="52"/>
                        <a:pt x="19" y="54"/>
                      </a:cubicBezTo>
                      <a:cubicBezTo>
                        <a:pt x="18" y="54"/>
                        <a:pt x="18" y="54"/>
                        <a:pt x="18" y="54"/>
                      </a:cubicBezTo>
                      <a:cubicBezTo>
                        <a:pt x="8" y="52"/>
                        <a:pt x="2" y="48"/>
                        <a:pt x="0" y="42"/>
                      </a:cubicBezTo>
                      <a:moveTo>
                        <a:pt x="57" y="9"/>
                      </a:moveTo>
                      <a:cubicBezTo>
                        <a:pt x="58" y="14"/>
                        <a:pt x="58" y="20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7" y="22"/>
                        <a:pt x="58" y="18"/>
                        <a:pt x="58" y="15"/>
                      </a:cubicBezTo>
                      <a:cubicBezTo>
                        <a:pt x="58" y="14"/>
                        <a:pt x="58" y="14"/>
                        <a:pt x="58" y="14"/>
                      </a:cubicBezTo>
                      <a:cubicBezTo>
                        <a:pt x="58" y="13"/>
                        <a:pt x="57" y="11"/>
                        <a:pt x="57" y="9"/>
                      </a:cubicBezTo>
                      <a:cubicBezTo>
                        <a:pt x="57" y="9"/>
                        <a:pt x="57" y="9"/>
                        <a:pt x="57" y="9"/>
                      </a:cubicBezTo>
                      <a:moveTo>
                        <a:pt x="4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"/>
                        <a:pt x="2" y="7"/>
                        <a:pt x="1" y="11"/>
                      </a:cubicBezTo>
                      <a:cubicBezTo>
                        <a:pt x="2" y="7"/>
                        <a:pt x="3" y="3"/>
                        <a:pt x="4" y="0"/>
                      </a:cubicBezTo>
                    </a:path>
                  </a:pathLst>
                </a:custGeom>
                <a:solidFill>
                  <a:srgbClr val="BD8B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3" name="Freeform 79"/>
                <p:cNvSpPr>
                  <a:spLocks/>
                </p:cNvSpPr>
                <p:nvPr/>
              </p:nvSpPr>
              <p:spPr bwMode="auto">
                <a:xfrm>
                  <a:off x="1870076" y="3154363"/>
                  <a:ext cx="536575" cy="730250"/>
                </a:xfrm>
                <a:custGeom>
                  <a:avLst/>
                  <a:gdLst>
                    <a:gd name="T0" fmla="*/ 45 w 110"/>
                    <a:gd name="T1" fmla="*/ 0 h 150"/>
                    <a:gd name="T2" fmla="*/ 39 w 110"/>
                    <a:gd name="T3" fmla="*/ 14 h 150"/>
                    <a:gd name="T4" fmla="*/ 10 w 110"/>
                    <a:gd name="T5" fmla="*/ 113 h 150"/>
                    <a:gd name="T6" fmla="*/ 0 w 110"/>
                    <a:gd name="T7" fmla="*/ 139 h 150"/>
                    <a:gd name="T8" fmla="*/ 0 w 110"/>
                    <a:gd name="T9" fmla="*/ 139 h 150"/>
                    <a:gd name="T10" fmla="*/ 8 w 110"/>
                    <a:gd name="T11" fmla="*/ 150 h 150"/>
                    <a:gd name="T12" fmla="*/ 20 w 110"/>
                    <a:gd name="T13" fmla="*/ 144 h 150"/>
                    <a:gd name="T14" fmla="*/ 55 w 110"/>
                    <a:gd name="T15" fmla="*/ 108 h 150"/>
                    <a:gd name="T16" fmla="*/ 69 w 110"/>
                    <a:gd name="T17" fmla="*/ 111 h 150"/>
                    <a:gd name="T18" fmla="*/ 94 w 110"/>
                    <a:gd name="T19" fmla="*/ 118 h 150"/>
                    <a:gd name="T20" fmla="*/ 101 w 110"/>
                    <a:gd name="T21" fmla="*/ 101 h 150"/>
                    <a:gd name="T22" fmla="*/ 108 w 110"/>
                    <a:gd name="T23" fmla="*/ 17 h 150"/>
                    <a:gd name="T24" fmla="*/ 110 w 110"/>
                    <a:gd name="T25" fmla="*/ 11 h 150"/>
                    <a:gd name="T26" fmla="*/ 110 w 110"/>
                    <a:gd name="T27" fmla="*/ 11 h 150"/>
                    <a:gd name="T28" fmla="*/ 106 w 110"/>
                    <a:gd name="T29" fmla="*/ 8 h 150"/>
                    <a:gd name="T30" fmla="*/ 74 w 110"/>
                    <a:gd name="T31" fmla="*/ 12 h 150"/>
                    <a:gd name="T32" fmla="*/ 45 w 110"/>
                    <a:gd name="T33" fmla="*/ 0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0" h="150">
                      <a:moveTo>
                        <a:pt x="45" y="0"/>
                      </a:moveTo>
                      <a:cubicBezTo>
                        <a:pt x="42" y="0"/>
                        <a:pt x="40" y="3"/>
                        <a:pt x="39" y="14"/>
                      </a:cubicBezTo>
                      <a:cubicBezTo>
                        <a:pt x="36" y="45"/>
                        <a:pt x="30" y="79"/>
                        <a:pt x="10" y="113"/>
                      </a:cubicBezTo>
                      <a:cubicBezTo>
                        <a:pt x="3" y="124"/>
                        <a:pt x="0" y="133"/>
                        <a:pt x="0" y="139"/>
                      </a:cubicBezTo>
                      <a:cubicBezTo>
                        <a:pt x="0" y="139"/>
                        <a:pt x="0" y="139"/>
                        <a:pt x="0" y="139"/>
                      </a:cubicBezTo>
                      <a:cubicBezTo>
                        <a:pt x="0" y="146"/>
                        <a:pt x="3" y="150"/>
                        <a:pt x="8" y="150"/>
                      </a:cubicBezTo>
                      <a:cubicBezTo>
                        <a:pt x="11" y="150"/>
                        <a:pt x="16" y="148"/>
                        <a:pt x="20" y="144"/>
                      </a:cubicBezTo>
                      <a:cubicBezTo>
                        <a:pt x="32" y="131"/>
                        <a:pt x="35" y="108"/>
                        <a:pt x="55" y="108"/>
                      </a:cubicBezTo>
                      <a:cubicBezTo>
                        <a:pt x="58" y="108"/>
                        <a:pt x="63" y="109"/>
                        <a:pt x="69" y="111"/>
                      </a:cubicBezTo>
                      <a:cubicBezTo>
                        <a:pt x="81" y="116"/>
                        <a:pt x="89" y="118"/>
                        <a:pt x="94" y="118"/>
                      </a:cubicBezTo>
                      <a:cubicBezTo>
                        <a:pt x="103" y="118"/>
                        <a:pt x="104" y="112"/>
                        <a:pt x="101" y="101"/>
                      </a:cubicBezTo>
                      <a:cubicBezTo>
                        <a:pt x="97" y="83"/>
                        <a:pt x="100" y="35"/>
                        <a:pt x="108" y="17"/>
                      </a:cubicBezTo>
                      <a:cubicBezTo>
                        <a:pt x="110" y="14"/>
                        <a:pt x="110" y="13"/>
                        <a:pt x="110" y="11"/>
                      </a:cubicBezTo>
                      <a:cubicBezTo>
                        <a:pt x="110" y="11"/>
                        <a:pt x="110" y="11"/>
                        <a:pt x="110" y="11"/>
                      </a:cubicBezTo>
                      <a:cubicBezTo>
                        <a:pt x="110" y="9"/>
                        <a:pt x="109" y="8"/>
                        <a:pt x="106" y="8"/>
                      </a:cubicBezTo>
                      <a:cubicBezTo>
                        <a:pt x="99" y="8"/>
                        <a:pt x="87" y="12"/>
                        <a:pt x="74" y="12"/>
                      </a:cubicBezTo>
                      <a:cubicBezTo>
                        <a:pt x="61" y="12"/>
                        <a:pt x="51" y="0"/>
                        <a:pt x="45" y="0"/>
                      </a:cubicBezTo>
                    </a:path>
                  </a:pathLst>
                </a:custGeom>
                <a:solidFill>
                  <a:srgbClr val="DBAB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4" name="Freeform 80"/>
                <p:cNvSpPr>
                  <a:spLocks/>
                </p:cNvSpPr>
                <p:nvPr/>
              </p:nvSpPr>
              <p:spPr bwMode="auto">
                <a:xfrm>
                  <a:off x="1874838" y="4546601"/>
                  <a:ext cx="584200" cy="1465263"/>
                </a:xfrm>
                <a:custGeom>
                  <a:avLst/>
                  <a:gdLst>
                    <a:gd name="T0" fmla="*/ 120 w 120"/>
                    <a:gd name="T1" fmla="*/ 0 h 301"/>
                    <a:gd name="T2" fmla="*/ 120 w 120"/>
                    <a:gd name="T3" fmla="*/ 0 h 301"/>
                    <a:gd name="T4" fmla="*/ 69 w 120"/>
                    <a:gd name="T5" fmla="*/ 86 h 301"/>
                    <a:gd name="T6" fmla="*/ 1 w 120"/>
                    <a:gd name="T7" fmla="*/ 275 h 301"/>
                    <a:gd name="T8" fmla="*/ 0 w 120"/>
                    <a:gd name="T9" fmla="*/ 301 h 301"/>
                    <a:gd name="T10" fmla="*/ 31 w 120"/>
                    <a:gd name="T11" fmla="*/ 301 h 301"/>
                    <a:gd name="T12" fmla="*/ 62 w 120"/>
                    <a:gd name="T13" fmla="*/ 169 h 301"/>
                    <a:gd name="T14" fmla="*/ 119 w 120"/>
                    <a:gd name="T15" fmla="*/ 3 h 301"/>
                    <a:gd name="T16" fmla="*/ 120 w 120"/>
                    <a:gd name="T17" fmla="*/ 1 h 301"/>
                    <a:gd name="T18" fmla="*/ 120 w 120"/>
                    <a:gd name="T19" fmla="*/ 0 h 301"/>
                    <a:gd name="T20" fmla="*/ 120 w 120"/>
                    <a:gd name="T21" fmla="*/ 0 h 3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0" h="301">
                      <a:moveTo>
                        <a:pt x="120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18" y="1"/>
                        <a:pt x="92" y="51"/>
                        <a:pt x="69" y="86"/>
                      </a:cubicBezTo>
                      <a:cubicBezTo>
                        <a:pt x="43" y="126"/>
                        <a:pt x="9" y="188"/>
                        <a:pt x="1" y="275"/>
                      </a:cubicBezTo>
                      <a:cubicBezTo>
                        <a:pt x="1" y="283"/>
                        <a:pt x="0" y="292"/>
                        <a:pt x="0" y="301"/>
                      </a:cubicBezTo>
                      <a:cubicBezTo>
                        <a:pt x="31" y="301"/>
                        <a:pt x="31" y="301"/>
                        <a:pt x="31" y="301"/>
                      </a:cubicBezTo>
                      <a:cubicBezTo>
                        <a:pt x="38" y="229"/>
                        <a:pt x="52" y="204"/>
                        <a:pt x="62" y="169"/>
                      </a:cubicBezTo>
                      <a:cubicBezTo>
                        <a:pt x="73" y="124"/>
                        <a:pt x="116" y="30"/>
                        <a:pt x="119" y="3"/>
                      </a:cubicBezTo>
                      <a:cubicBezTo>
                        <a:pt x="120" y="2"/>
                        <a:pt x="120" y="1"/>
                        <a:pt x="120" y="1"/>
                      </a:cubicBez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0"/>
                        <a:pt x="120" y="0"/>
                        <a:pt x="120" y="0"/>
                      </a:cubicBezTo>
                    </a:path>
                  </a:pathLst>
                </a:custGeom>
                <a:solidFill>
                  <a:srgbClr val="E0B2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5" name="Freeform 8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1 w 3"/>
                    <a:gd name="T3" fmla="*/ 0 h 1"/>
                    <a:gd name="T4" fmla="*/ 3 w 3"/>
                    <a:gd name="T5" fmla="*/ 1 h 1"/>
                    <a:gd name="T6" fmla="*/ 1 w 3"/>
                    <a:gd name="T7" fmla="*/ 0 h 1"/>
                    <a:gd name="T8" fmla="*/ 1 w 3"/>
                    <a:gd name="T9" fmla="*/ 0 h 1"/>
                    <a:gd name="T10" fmla="*/ 1 w 3"/>
                    <a:gd name="T11" fmla="*/ 0 h 1"/>
                    <a:gd name="T12" fmla="*/ 1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6" name="Freeform 82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3 w 3"/>
                    <a:gd name="T3" fmla="*/ 3 w 3"/>
                    <a:gd name="T4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7" name="Freeform 83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9525" cy="0"/>
                </a:xfrm>
                <a:custGeom>
                  <a:avLst/>
                  <a:gdLst>
                    <a:gd name="T0" fmla="*/ 1 w 2"/>
                    <a:gd name="T1" fmla="*/ 2 w 2"/>
                    <a:gd name="T2" fmla="*/ 2 w 2"/>
                    <a:gd name="T3" fmla="*/ 1 w 2"/>
                    <a:gd name="T4" fmla="*/ 0 w 2"/>
                    <a:gd name="T5" fmla="*/ 1 w 2"/>
                    <a:gd name="T6" fmla="*/ 0 w 2"/>
                    <a:gd name="T7" fmla="*/ 0 w 2"/>
                    <a:gd name="T8" fmla="*/ 0 w 2"/>
                    <a:gd name="T9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2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8" name="Freeform 84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  <a:gd name="T3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9" name="Freeform 8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0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0" name="Freeform 8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0 w 3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1" name="Freeform 87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2" name="Freeform 8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3" name="Freeform 89"/>
                <p:cNvSpPr>
                  <a:spLocks/>
                </p:cNvSpPr>
                <p:nvPr/>
              </p:nvSpPr>
              <p:spPr bwMode="auto">
                <a:xfrm>
                  <a:off x="2303463" y="2822576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2 w 2"/>
                    <a:gd name="T5" fmla="*/ 1 h 1"/>
                    <a:gd name="T6" fmla="*/ 1 w 2"/>
                    <a:gd name="T7" fmla="*/ 0 h 1"/>
                    <a:gd name="T8" fmla="*/ 0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4" name="Freeform 90"/>
                <p:cNvSpPr>
                  <a:spLocks noEditPoints="1"/>
                </p:cNvSpPr>
                <p:nvPr/>
              </p:nvSpPr>
              <p:spPr bwMode="auto">
                <a:xfrm>
                  <a:off x="2303463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  <a:gd name="T4" fmla="*/ 0 w 1"/>
                    <a:gd name="T5" fmla="*/ 0 w 1"/>
                    <a:gd name="T6" fmla="*/ 0 w 1"/>
                    <a:gd name="T7" fmla="*/ 0 w 1"/>
                    <a:gd name="T8" fmla="*/ 0 w 1"/>
                    <a:gd name="T9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5" name="Freeform 91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6" name="Freeform 92"/>
                <p:cNvSpPr>
                  <a:spLocks/>
                </p:cNvSpPr>
                <p:nvPr/>
              </p:nvSpPr>
              <p:spPr bwMode="auto">
                <a:xfrm>
                  <a:off x="2328863" y="2827338"/>
                  <a:ext cx="4763" cy="0"/>
                </a:xfrm>
                <a:custGeom>
                  <a:avLst/>
                  <a:gdLst>
                    <a:gd name="T0" fmla="*/ 0 w 1"/>
                    <a:gd name="T1" fmla="*/ 1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7" name="Freeform 93"/>
                <p:cNvSpPr>
                  <a:spLocks noEditPoints="1"/>
                </p:cNvSpPr>
                <p:nvPr/>
              </p:nvSpPr>
              <p:spPr bwMode="auto">
                <a:xfrm>
                  <a:off x="2338388" y="2497138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  <a:gd name="T5" fmla="*/ 0 h 1"/>
                    <a:gd name="T6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8" name="Freeform 94"/>
                <p:cNvSpPr>
                  <a:spLocks/>
                </p:cNvSpPr>
                <p:nvPr/>
              </p:nvSpPr>
              <p:spPr bwMode="auto">
                <a:xfrm>
                  <a:off x="2303463" y="2497138"/>
                  <a:ext cx="34925" cy="19050"/>
                </a:xfrm>
                <a:custGeom>
                  <a:avLst/>
                  <a:gdLst>
                    <a:gd name="T0" fmla="*/ 1 w 7"/>
                    <a:gd name="T1" fmla="*/ 0 h 4"/>
                    <a:gd name="T2" fmla="*/ 0 w 7"/>
                    <a:gd name="T3" fmla="*/ 0 h 4"/>
                    <a:gd name="T4" fmla="*/ 0 w 7"/>
                    <a:gd name="T5" fmla="*/ 4 h 4"/>
                    <a:gd name="T6" fmla="*/ 3 w 7"/>
                    <a:gd name="T7" fmla="*/ 4 h 4"/>
                    <a:gd name="T8" fmla="*/ 3 w 7"/>
                    <a:gd name="T9" fmla="*/ 0 h 4"/>
                    <a:gd name="T10" fmla="*/ 6 w 7"/>
                    <a:gd name="T11" fmla="*/ 0 h 4"/>
                    <a:gd name="T12" fmla="*/ 6 w 7"/>
                    <a:gd name="T13" fmla="*/ 0 h 4"/>
                    <a:gd name="T14" fmla="*/ 7 w 7"/>
                    <a:gd name="T15" fmla="*/ 0 h 4"/>
                    <a:gd name="T16" fmla="*/ 7 w 7"/>
                    <a:gd name="T17" fmla="*/ 0 h 4"/>
                    <a:gd name="T18" fmla="*/ 7 w 7"/>
                    <a:gd name="T19" fmla="*/ 0 h 4"/>
                    <a:gd name="T20" fmla="*/ 7 w 7"/>
                    <a:gd name="T21" fmla="*/ 0 h 4"/>
                    <a:gd name="T22" fmla="*/ 7 w 7"/>
                    <a:gd name="T23" fmla="*/ 0 h 4"/>
                    <a:gd name="T24" fmla="*/ 1 w 7"/>
                    <a:gd name="T2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" h="4">
                      <a:moveTo>
                        <a:pt x="1" y="0"/>
                      </a:moveTo>
                      <a:cubicBezTo>
                        <a:pt x="1" y="0"/>
                        <a:pt x="1" y="0"/>
                        <a:pt x="0" y="0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1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4" y="0"/>
                        <a:pt x="5" y="0"/>
                        <a:pt x="6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5" y="0"/>
                        <a:pt x="3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9" name="Freeform 95"/>
                <p:cNvSpPr>
                  <a:spLocks/>
                </p:cNvSpPr>
                <p:nvPr/>
              </p:nvSpPr>
              <p:spPr bwMode="auto">
                <a:xfrm>
                  <a:off x="2265363" y="2516188"/>
                  <a:ext cx="52388" cy="306388"/>
                </a:xfrm>
                <a:custGeom>
                  <a:avLst/>
                  <a:gdLst>
                    <a:gd name="T0" fmla="*/ 11 w 11"/>
                    <a:gd name="T1" fmla="*/ 0 h 63"/>
                    <a:gd name="T2" fmla="*/ 8 w 11"/>
                    <a:gd name="T3" fmla="*/ 0 h 63"/>
                    <a:gd name="T4" fmla="*/ 0 w 11"/>
                    <a:gd name="T5" fmla="*/ 61 h 63"/>
                    <a:gd name="T6" fmla="*/ 3 w 11"/>
                    <a:gd name="T7" fmla="*/ 62 h 63"/>
                    <a:gd name="T8" fmla="*/ 6 w 11"/>
                    <a:gd name="T9" fmla="*/ 63 h 63"/>
                    <a:gd name="T10" fmla="*/ 3 w 11"/>
                    <a:gd name="T11" fmla="*/ 62 h 63"/>
                    <a:gd name="T12" fmla="*/ 11 w 11"/>
                    <a:gd name="T13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3">
                      <a:moveTo>
                        <a:pt x="11" y="0"/>
                      </a:moveTo>
                      <a:cubicBezTo>
                        <a:pt x="10" y="0"/>
                        <a:pt x="9" y="0"/>
                        <a:pt x="8" y="0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1" y="62"/>
                        <a:pt x="2" y="62"/>
                        <a:pt x="3" y="62"/>
                      </a:cubicBezTo>
                      <a:cubicBezTo>
                        <a:pt x="4" y="62"/>
                        <a:pt x="5" y="63"/>
                        <a:pt x="6" y="63"/>
                      </a:cubicBezTo>
                      <a:cubicBezTo>
                        <a:pt x="5" y="63"/>
                        <a:pt x="4" y="62"/>
                        <a:pt x="3" y="62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0" name="Freeform 96"/>
                <p:cNvSpPr>
                  <a:spLocks noEditPoints="1"/>
                </p:cNvSpPr>
                <p:nvPr/>
              </p:nvSpPr>
              <p:spPr bwMode="auto">
                <a:xfrm>
                  <a:off x="2284413" y="2817813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1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1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1" name="Freeform 97"/>
                <p:cNvSpPr>
                  <a:spLocks/>
                </p:cNvSpPr>
                <p:nvPr/>
              </p:nvSpPr>
              <p:spPr bwMode="auto">
                <a:xfrm>
                  <a:off x="2279651" y="2817813"/>
                  <a:ext cx="19050" cy="4763"/>
                </a:xfrm>
                <a:custGeom>
                  <a:avLst/>
                  <a:gdLst>
                    <a:gd name="T0" fmla="*/ 0 w 4"/>
                    <a:gd name="T1" fmla="*/ 0 h 1"/>
                    <a:gd name="T2" fmla="*/ 1 w 4"/>
                    <a:gd name="T3" fmla="*/ 0 h 1"/>
                    <a:gd name="T4" fmla="*/ 1 w 4"/>
                    <a:gd name="T5" fmla="*/ 0 h 1"/>
                    <a:gd name="T6" fmla="*/ 1 w 4"/>
                    <a:gd name="T7" fmla="*/ 0 h 1"/>
                    <a:gd name="T8" fmla="*/ 4 w 4"/>
                    <a:gd name="T9" fmla="*/ 1 h 1"/>
                    <a:gd name="T10" fmla="*/ 3 w 4"/>
                    <a:gd name="T11" fmla="*/ 1 h 1"/>
                    <a:gd name="T12" fmla="*/ 0 w 4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1"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1"/>
                        <a:pt x="3" y="1"/>
                        <a:pt x="4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2" name="Freeform 98"/>
                <p:cNvSpPr>
                  <a:spLocks/>
                </p:cNvSpPr>
                <p:nvPr/>
              </p:nvSpPr>
              <p:spPr bwMode="auto">
                <a:xfrm>
                  <a:off x="2371726" y="2506663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1 w 4"/>
                    <a:gd name="T3" fmla="*/ 0 h 4"/>
                    <a:gd name="T4" fmla="*/ 0 w 4"/>
                    <a:gd name="T5" fmla="*/ 3 h 4"/>
                    <a:gd name="T6" fmla="*/ 2 w 4"/>
                    <a:gd name="T7" fmla="*/ 3 h 4"/>
                    <a:gd name="T8" fmla="*/ 3 w 4"/>
                    <a:gd name="T9" fmla="*/ 4 h 4"/>
                    <a:gd name="T10" fmla="*/ 4 w 4"/>
                    <a:gd name="T11" fmla="*/ 1 h 4"/>
                    <a:gd name="T12" fmla="*/ 1 w 4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2" y="3"/>
                        <a:pt x="2" y="3"/>
                      </a:cubicBezTo>
                      <a:cubicBezTo>
                        <a:pt x="3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2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3" name="Freeform 99"/>
                <p:cNvSpPr>
                  <a:spLocks/>
                </p:cNvSpPr>
                <p:nvPr/>
              </p:nvSpPr>
              <p:spPr bwMode="auto">
                <a:xfrm>
                  <a:off x="2381251" y="2520951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1 w 1"/>
                    <a:gd name="T5" fmla="*/ 1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4919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4" name="Freeform 100"/>
                <p:cNvSpPr>
                  <a:spLocks/>
                </p:cNvSpPr>
                <p:nvPr/>
              </p:nvSpPr>
              <p:spPr bwMode="auto">
                <a:xfrm>
                  <a:off x="2333626" y="2520951"/>
                  <a:ext cx="52388" cy="311150"/>
                </a:xfrm>
                <a:custGeom>
                  <a:avLst/>
                  <a:gdLst>
                    <a:gd name="T0" fmla="*/ 8 w 11"/>
                    <a:gd name="T1" fmla="*/ 0 h 64"/>
                    <a:gd name="T2" fmla="*/ 0 w 11"/>
                    <a:gd name="T3" fmla="*/ 63 h 64"/>
                    <a:gd name="T4" fmla="*/ 3 w 11"/>
                    <a:gd name="T5" fmla="*/ 64 h 64"/>
                    <a:gd name="T6" fmla="*/ 3 w 11"/>
                    <a:gd name="T7" fmla="*/ 64 h 64"/>
                    <a:gd name="T8" fmla="*/ 11 w 11"/>
                    <a:gd name="T9" fmla="*/ 1 h 64"/>
                    <a:gd name="T10" fmla="*/ 10 w 11"/>
                    <a:gd name="T11" fmla="*/ 0 h 64"/>
                    <a:gd name="T12" fmla="*/ 8 w 11"/>
                    <a:gd name="T13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1" y="63"/>
                        <a:pt x="2" y="64"/>
                        <a:pt x="3" y="64"/>
                      </a:cubicBezTo>
                      <a:cubicBezTo>
                        <a:pt x="3" y="64"/>
                        <a:pt x="3" y="64"/>
                        <a:pt x="3" y="64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1" y="1"/>
                        <a:pt x="11" y="1"/>
                        <a:pt x="10" y="0"/>
                      </a:cubicBezTo>
                      <a:cubicBezTo>
                        <a:pt x="10" y="0"/>
                        <a:pt x="9" y="0"/>
                        <a:pt x="8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5" name="Freeform 101"/>
                <p:cNvSpPr>
                  <a:spLocks/>
                </p:cNvSpPr>
                <p:nvPr/>
              </p:nvSpPr>
              <p:spPr bwMode="auto">
                <a:xfrm>
                  <a:off x="2347913" y="28321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6" name="Oval 102"/>
                <p:cNvSpPr>
                  <a:spLocks noChangeArrowheads="1"/>
                </p:cNvSpPr>
                <p:nvPr/>
              </p:nvSpPr>
              <p:spPr bwMode="auto">
                <a:xfrm>
                  <a:off x="2347913" y="2832101"/>
                  <a:ext cx="1588" cy="1588"/>
                </a:xfrm>
                <a:prstGeom prst="ellipse">
                  <a:avLst/>
                </a:pr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7" name="Freeform 103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8" name="Freeform 104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9" name="Freeform 105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23813" cy="0"/>
                </a:xfrm>
                <a:custGeom>
                  <a:avLst/>
                  <a:gdLst>
                    <a:gd name="T0" fmla="*/ 5 w 5"/>
                    <a:gd name="T1" fmla="*/ 5 w 5"/>
                    <a:gd name="T2" fmla="*/ 5 w 5"/>
                    <a:gd name="T3" fmla="*/ 5 w 5"/>
                    <a:gd name="T4" fmla="*/ 5 w 5"/>
                    <a:gd name="T5" fmla="*/ 5 w 5"/>
                    <a:gd name="T6" fmla="*/ 1 w 5"/>
                    <a:gd name="T7" fmla="*/ 1 w 5"/>
                    <a:gd name="T8" fmla="*/ 1 w 5"/>
                    <a:gd name="T9" fmla="*/ 0 w 5"/>
                    <a:gd name="T10" fmla="*/ 0 w 5"/>
                    <a:gd name="T11" fmla="*/ 0 w 5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  <a:cxn ang="0">
                      <a:pos x="T10" y="0"/>
                    </a:cxn>
                    <a:cxn ang="0">
                      <a:pos x="T11" y="0"/>
                    </a:cxn>
                  </a:cxnLst>
                  <a:rect l="0" t="0" r="r" b="b"/>
                  <a:pathLst>
                    <a:path w="5">
                      <a:moveTo>
                        <a:pt x="5" y="0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0" name="Freeform 10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1" name="Freeform 107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15875" cy="0"/>
                </a:xfrm>
                <a:custGeom>
                  <a:avLst/>
                  <a:gdLst>
                    <a:gd name="T0" fmla="*/ 0 w 3"/>
                    <a:gd name="T1" fmla="*/ 0 w 3"/>
                    <a:gd name="T2" fmla="*/ 0 w 3"/>
                    <a:gd name="T3" fmla="*/ 0 w 3"/>
                    <a:gd name="T4" fmla="*/ 3 w 3"/>
                    <a:gd name="T5" fmla="*/ 0 w 3"/>
                    <a:gd name="T6" fmla="*/ 0 w 3"/>
                    <a:gd name="T7" fmla="*/ 0 w 3"/>
                    <a:gd name="T8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2" name="Freeform 10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3" name="Freeform 109"/>
                <p:cNvSpPr>
                  <a:spLocks/>
                </p:cNvSpPr>
                <p:nvPr/>
              </p:nvSpPr>
              <p:spPr bwMode="auto">
                <a:xfrm>
                  <a:off x="2317751" y="2497138"/>
                  <a:ext cx="15875" cy="19050"/>
                </a:xfrm>
                <a:custGeom>
                  <a:avLst/>
                  <a:gdLst>
                    <a:gd name="T0" fmla="*/ 0 w 3"/>
                    <a:gd name="T1" fmla="*/ 0 h 4"/>
                    <a:gd name="T2" fmla="*/ 0 w 3"/>
                    <a:gd name="T3" fmla="*/ 4 h 4"/>
                    <a:gd name="T4" fmla="*/ 1 w 3"/>
                    <a:gd name="T5" fmla="*/ 4 h 4"/>
                    <a:gd name="T6" fmla="*/ 3 w 3"/>
                    <a:gd name="T7" fmla="*/ 4 h 4"/>
                    <a:gd name="T8" fmla="*/ 3 w 3"/>
                    <a:gd name="T9" fmla="*/ 0 h 4"/>
                    <a:gd name="T10" fmla="*/ 0 w 3"/>
                    <a:gd name="T11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4"/>
                        <a:pt x="1" y="4"/>
                        <a:pt x="1" y="4"/>
                      </a:cubicBezTo>
                      <a:cubicBezTo>
                        <a:pt x="2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4" name="Freeform 110"/>
                <p:cNvSpPr>
                  <a:spLocks/>
                </p:cNvSpPr>
                <p:nvPr/>
              </p:nvSpPr>
              <p:spPr bwMode="auto">
                <a:xfrm>
                  <a:off x="2279651" y="2516188"/>
                  <a:ext cx="53975" cy="306388"/>
                </a:xfrm>
                <a:custGeom>
                  <a:avLst/>
                  <a:gdLst>
                    <a:gd name="T0" fmla="*/ 9 w 11"/>
                    <a:gd name="T1" fmla="*/ 0 h 63"/>
                    <a:gd name="T2" fmla="*/ 8 w 11"/>
                    <a:gd name="T3" fmla="*/ 0 h 63"/>
                    <a:gd name="T4" fmla="*/ 0 w 11"/>
                    <a:gd name="T5" fmla="*/ 62 h 63"/>
                    <a:gd name="T6" fmla="*/ 3 w 11"/>
                    <a:gd name="T7" fmla="*/ 63 h 63"/>
                    <a:gd name="T8" fmla="*/ 4 w 11"/>
                    <a:gd name="T9" fmla="*/ 63 h 63"/>
                    <a:gd name="T10" fmla="*/ 3 w 11"/>
                    <a:gd name="T11" fmla="*/ 63 h 63"/>
                    <a:gd name="T12" fmla="*/ 3 w 11"/>
                    <a:gd name="T13" fmla="*/ 63 h 63"/>
                    <a:gd name="T14" fmla="*/ 11 w 11"/>
                    <a:gd name="T15" fmla="*/ 0 h 63"/>
                    <a:gd name="T16" fmla="*/ 9 w 11"/>
                    <a:gd name="T17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63">
                      <a:moveTo>
                        <a:pt x="9" y="0"/>
                      </a:moveTo>
                      <a:cubicBezTo>
                        <a:pt x="9" y="0"/>
                        <a:pt x="8" y="0"/>
                        <a:pt x="8" y="0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1" y="62"/>
                        <a:pt x="2" y="63"/>
                        <a:pt x="3" y="63"/>
                      </a:cubicBezTo>
                      <a:cubicBezTo>
                        <a:pt x="3" y="63"/>
                        <a:pt x="3" y="63"/>
                        <a:pt x="4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5" name="Freeform 11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6" name="Oval 112"/>
                <p:cNvSpPr>
                  <a:spLocks noChangeArrowheads="1"/>
                </p:cNvSpPr>
                <p:nvPr/>
              </p:nvSpPr>
              <p:spPr bwMode="auto">
                <a:xfrm>
                  <a:off x="2293938" y="2822576"/>
                  <a:ext cx="4763" cy="1588"/>
                </a:xfrm>
                <a:prstGeom prst="ellipse">
                  <a:avLst/>
                </a:pr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7" name="Freeform 113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1 w 2"/>
                    <a:gd name="T3" fmla="*/ 1 h 1"/>
                    <a:gd name="T4" fmla="*/ 2 w 2"/>
                    <a:gd name="T5" fmla="*/ 1 h 1"/>
                    <a:gd name="T6" fmla="*/ 1 w 2"/>
                    <a:gd name="T7" fmla="*/ 1 h 1"/>
                    <a:gd name="T8" fmla="*/ 1 w 2"/>
                    <a:gd name="T9" fmla="*/ 1 h 1"/>
                    <a:gd name="T10" fmla="*/ 0 w 2"/>
                    <a:gd name="T11" fmla="*/ 1 h 1"/>
                    <a:gd name="T12" fmla="*/ 0 w 2"/>
                    <a:gd name="T13" fmla="*/ 1 h 1"/>
                    <a:gd name="T14" fmla="*/ 0 w 2"/>
                    <a:gd name="T15" fmla="*/ 1 h 1"/>
                    <a:gd name="T16" fmla="*/ 0 w 2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2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8" name="Freeform 114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0 w 1"/>
                    <a:gd name="T5" fmla="*/ 0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" y="1"/>
                        <a:pt x="0" y="1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9" name="Freeform 11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0" name="Freeform 116"/>
                <p:cNvSpPr>
                  <a:spLocks/>
                </p:cNvSpPr>
                <p:nvPr/>
              </p:nvSpPr>
              <p:spPr bwMode="auto">
                <a:xfrm>
                  <a:off x="2357438" y="2501901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0 w 4"/>
                    <a:gd name="T3" fmla="*/ 3 h 4"/>
                    <a:gd name="T4" fmla="*/ 1 w 4"/>
                    <a:gd name="T5" fmla="*/ 3 h 4"/>
                    <a:gd name="T6" fmla="*/ 3 w 4"/>
                    <a:gd name="T7" fmla="*/ 4 h 4"/>
                    <a:gd name="T8" fmla="*/ 4 w 4"/>
                    <a:gd name="T9" fmla="*/ 1 h 4"/>
                    <a:gd name="T10" fmla="*/ 4 w 4"/>
                    <a:gd name="T11" fmla="*/ 1 h 4"/>
                    <a:gd name="T12" fmla="*/ 1 w 4"/>
                    <a:gd name="T13" fmla="*/ 0 h 4"/>
                    <a:gd name="T14" fmla="*/ 1 w 4"/>
                    <a:gd name="T15" fmla="*/ 0 h 4"/>
                    <a:gd name="T16" fmla="*/ 1 w 4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2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1" name="Freeform 117"/>
                <p:cNvSpPr>
                  <a:spLocks/>
                </p:cNvSpPr>
                <p:nvPr/>
              </p:nvSpPr>
              <p:spPr bwMode="auto">
                <a:xfrm>
                  <a:off x="2312988" y="2516188"/>
                  <a:ext cx="58738" cy="311150"/>
                </a:xfrm>
                <a:custGeom>
                  <a:avLst/>
                  <a:gdLst>
                    <a:gd name="T0" fmla="*/ 9 w 12"/>
                    <a:gd name="T1" fmla="*/ 0 h 64"/>
                    <a:gd name="T2" fmla="*/ 1 w 12"/>
                    <a:gd name="T3" fmla="*/ 64 h 64"/>
                    <a:gd name="T4" fmla="*/ 0 w 12"/>
                    <a:gd name="T5" fmla="*/ 64 h 64"/>
                    <a:gd name="T6" fmla="*/ 0 w 12"/>
                    <a:gd name="T7" fmla="*/ 64 h 64"/>
                    <a:gd name="T8" fmla="*/ 0 w 12"/>
                    <a:gd name="T9" fmla="*/ 64 h 64"/>
                    <a:gd name="T10" fmla="*/ 0 w 12"/>
                    <a:gd name="T11" fmla="*/ 64 h 64"/>
                    <a:gd name="T12" fmla="*/ 3 w 12"/>
                    <a:gd name="T13" fmla="*/ 64 h 64"/>
                    <a:gd name="T14" fmla="*/ 4 w 12"/>
                    <a:gd name="T15" fmla="*/ 64 h 64"/>
                    <a:gd name="T16" fmla="*/ 12 w 12"/>
                    <a:gd name="T17" fmla="*/ 1 h 64"/>
                    <a:gd name="T18" fmla="*/ 10 w 12"/>
                    <a:gd name="T19" fmla="*/ 0 h 64"/>
                    <a:gd name="T20" fmla="*/ 9 w 12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" h="64">
                      <a:moveTo>
                        <a:pt x="9" y="0"/>
                      </a:moveTo>
                      <a:cubicBezTo>
                        <a:pt x="1" y="64"/>
                        <a:pt x="1" y="64"/>
                        <a:pt x="1" y="64"/>
                      </a:cubicBezTo>
                      <a:cubicBezTo>
                        <a:pt x="1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1" y="64"/>
                        <a:pt x="2" y="64"/>
                        <a:pt x="3" y="64"/>
                      </a:cubicBezTo>
                      <a:cubicBezTo>
                        <a:pt x="4" y="64"/>
                        <a:pt x="4" y="64"/>
                        <a:pt x="4" y="64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1"/>
                        <a:pt x="11" y="0"/>
                        <a:pt x="10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2" name="Freeform 11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3" name="Freeform 119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4" name="Freeform 120"/>
                <p:cNvSpPr>
                  <a:spLocks/>
                </p:cNvSpPr>
                <p:nvPr/>
              </p:nvSpPr>
              <p:spPr bwMode="auto">
                <a:xfrm>
                  <a:off x="2343151" y="2501901"/>
                  <a:ext cx="19050" cy="0"/>
                </a:xfrm>
                <a:custGeom>
                  <a:avLst/>
                  <a:gdLst>
                    <a:gd name="T0" fmla="*/ 0 w 4"/>
                    <a:gd name="T1" fmla="*/ 4 w 4"/>
                    <a:gd name="T2" fmla="*/ 4 w 4"/>
                    <a:gd name="T3" fmla="*/ 4 w 4"/>
                    <a:gd name="T4" fmla="*/ 1 w 4"/>
                    <a:gd name="T5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cubicBezTo>
                        <a:pt x="1" y="0"/>
                        <a:pt x="2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0"/>
                        <a:pt x="2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9693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5" name="Freeform 121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28575" cy="19050"/>
                </a:xfrm>
                <a:custGeom>
                  <a:avLst/>
                  <a:gdLst>
                    <a:gd name="T0" fmla="*/ 0 w 6"/>
                    <a:gd name="T1" fmla="*/ 0 h 4"/>
                    <a:gd name="T2" fmla="*/ 0 w 6"/>
                    <a:gd name="T3" fmla="*/ 4 h 4"/>
                    <a:gd name="T4" fmla="*/ 5 w 6"/>
                    <a:gd name="T5" fmla="*/ 4 h 4"/>
                    <a:gd name="T6" fmla="*/ 6 w 6"/>
                    <a:gd name="T7" fmla="*/ 1 h 4"/>
                    <a:gd name="T8" fmla="*/ 2 w 6"/>
                    <a:gd name="T9" fmla="*/ 1 h 4"/>
                    <a:gd name="T10" fmla="*/ 1 w 6"/>
                    <a:gd name="T11" fmla="*/ 0 h 4"/>
                    <a:gd name="T12" fmla="*/ 0 w 6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2" y="4"/>
                        <a:pt x="4" y="4"/>
                        <a:pt x="5" y="4"/>
                      </a:cubicBezTo>
                      <a:cubicBezTo>
                        <a:pt x="6" y="1"/>
                        <a:pt x="6" y="1"/>
                        <a:pt x="6" y="1"/>
                      </a:cubicBezTo>
                      <a:cubicBezTo>
                        <a:pt x="4" y="1"/>
                        <a:pt x="3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2C0C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" name="Freeform 122"/>
                <p:cNvSpPr>
                  <a:spLocks/>
                </p:cNvSpPr>
                <p:nvPr/>
              </p:nvSpPr>
              <p:spPr bwMode="auto">
                <a:xfrm>
                  <a:off x="2293938" y="2516188"/>
                  <a:ext cx="63500" cy="311150"/>
                </a:xfrm>
                <a:custGeom>
                  <a:avLst/>
                  <a:gdLst>
                    <a:gd name="T0" fmla="*/ 8 w 13"/>
                    <a:gd name="T1" fmla="*/ 0 h 64"/>
                    <a:gd name="T2" fmla="*/ 0 w 13"/>
                    <a:gd name="T3" fmla="*/ 63 h 64"/>
                    <a:gd name="T4" fmla="*/ 0 w 13"/>
                    <a:gd name="T5" fmla="*/ 63 h 64"/>
                    <a:gd name="T6" fmla="*/ 1 w 13"/>
                    <a:gd name="T7" fmla="*/ 63 h 64"/>
                    <a:gd name="T8" fmla="*/ 2 w 13"/>
                    <a:gd name="T9" fmla="*/ 63 h 64"/>
                    <a:gd name="T10" fmla="*/ 2 w 13"/>
                    <a:gd name="T11" fmla="*/ 63 h 64"/>
                    <a:gd name="T12" fmla="*/ 2 w 13"/>
                    <a:gd name="T13" fmla="*/ 63 h 64"/>
                    <a:gd name="T14" fmla="*/ 4 w 13"/>
                    <a:gd name="T15" fmla="*/ 64 h 64"/>
                    <a:gd name="T16" fmla="*/ 5 w 13"/>
                    <a:gd name="T17" fmla="*/ 64 h 64"/>
                    <a:gd name="T18" fmla="*/ 13 w 13"/>
                    <a:gd name="T19" fmla="*/ 0 h 64"/>
                    <a:gd name="T20" fmla="*/ 8 w 13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1" y="63"/>
                      </a:cubicBezTo>
                      <a:cubicBezTo>
                        <a:pt x="1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3" y="63"/>
                        <a:pt x="3" y="64"/>
                        <a:pt x="4" y="64"/>
                      </a:cubicBezTo>
                      <a:cubicBezTo>
                        <a:pt x="4" y="64"/>
                        <a:pt x="5" y="64"/>
                        <a:pt x="5" y="64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2" y="0"/>
                        <a:pt x="10" y="0"/>
                        <a:pt x="8" y="0"/>
                      </a:cubicBezTo>
                    </a:path>
                  </a:pathLst>
                </a:custGeom>
                <a:solidFill>
                  <a:srgbClr val="F5EA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" name="Freeform 123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2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2 w 3"/>
                    <a:gd name="T7" fmla="*/ 0 h 1"/>
                    <a:gd name="T8" fmla="*/ 0 w 3"/>
                    <a:gd name="T9" fmla="*/ 0 h 1"/>
                    <a:gd name="T10" fmla="*/ 0 w 3"/>
                    <a:gd name="T11" fmla="*/ 0 h 1"/>
                    <a:gd name="T12" fmla="*/ 1 w 3"/>
                    <a:gd name="T13" fmla="*/ 0 h 1"/>
                    <a:gd name="T14" fmla="*/ 1 w 3"/>
                    <a:gd name="T15" fmla="*/ 0 h 1"/>
                    <a:gd name="T16" fmla="*/ 0 w 3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EC5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" name="Freeform 124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1 w 3"/>
                    <a:gd name="T1" fmla="*/ 0 h 1"/>
                    <a:gd name="T2" fmla="*/ 2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1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1 w 3"/>
                    <a:gd name="T15" fmla="*/ 0 h 1"/>
                    <a:gd name="T16" fmla="*/ 1 w 3"/>
                    <a:gd name="T17" fmla="*/ 0 h 1"/>
                    <a:gd name="T18" fmla="*/ 0 w 3"/>
                    <a:gd name="T1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1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2CDC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  <p:sp>
          <p:nvSpPr>
            <p:cNvPr id="12" name="Rectangle 11"/>
            <p:cNvSpPr/>
            <p:nvPr/>
          </p:nvSpPr>
          <p:spPr bwMode="auto">
            <a:xfrm>
              <a:off x="3542839" y="1754690"/>
              <a:ext cx="5507908" cy="300803"/>
            </a:xfrm>
            <a:prstGeom prst="rect">
              <a:avLst/>
            </a:prstGeom>
            <a:solidFill>
              <a:srgbClr val="0070C0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30000"/>
                </a:spcAft>
                <a:buClr>
                  <a:schemeClr val="accent1"/>
                </a:buClr>
              </a:pPr>
              <a:endParaRPr lang="en-GB" sz="2100">
                <a:latin typeface="Arial" pitchFamily="34" charset="0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3599254" y="1773744"/>
            <a:ext cx="5232256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500" dirty="0">
                <a:solidFill>
                  <a:schemeClr val="bg1"/>
                </a:solidFill>
                <a:latin typeface="Century Gothic" panose="020B0502020202020204" pitchFamily="34" charset="0"/>
              </a:rPr>
              <a:t>Service Level Management |Portfolio Overview | DE </a:t>
            </a:r>
          </a:p>
        </p:txBody>
      </p:sp>
      <p:pic>
        <p:nvPicPr>
          <p:cNvPr id="12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65" t="1552" r="6251" b="20833"/>
          <a:stretch/>
        </p:blipFill>
        <p:spPr bwMode="auto">
          <a:xfrm>
            <a:off x="3549525" y="2061642"/>
            <a:ext cx="5492875" cy="32342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29" name="Group 128"/>
          <p:cNvGrpSpPr/>
          <p:nvPr/>
        </p:nvGrpSpPr>
        <p:grpSpPr>
          <a:xfrm flipH="1">
            <a:off x="9479582" y="3684578"/>
            <a:ext cx="1915335" cy="4693737"/>
            <a:chOff x="1120776" y="2492376"/>
            <a:chExt cx="1436688" cy="3519488"/>
          </a:xfrm>
        </p:grpSpPr>
        <p:sp>
          <p:nvSpPr>
            <p:cNvPr id="130" name="Freeform 64"/>
            <p:cNvSpPr>
              <a:spLocks/>
            </p:cNvSpPr>
            <p:nvPr/>
          </p:nvSpPr>
          <p:spPr bwMode="auto">
            <a:xfrm>
              <a:off x="2411413" y="2598738"/>
              <a:ext cx="131763" cy="1655763"/>
            </a:xfrm>
            <a:custGeom>
              <a:avLst/>
              <a:gdLst>
                <a:gd name="T0" fmla="*/ 14 w 27"/>
                <a:gd name="T1" fmla="*/ 0 h 340"/>
                <a:gd name="T2" fmla="*/ 15 w 27"/>
                <a:gd name="T3" fmla="*/ 5 h 340"/>
                <a:gd name="T4" fmla="*/ 22 w 27"/>
                <a:gd name="T5" fmla="*/ 59 h 340"/>
                <a:gd name="T6" fmla="*/ 3 w 27"/>
                <a:gd name="T7" fmla="*/ 161 h 340"/>
                <a:gd name="T8" fmla="*/ 6 w 27"/>
                <a:gd name="T9" fmla="*/ 235 h 340"/>
                <a:gd name="T10" fmla="*/ 23 w 27"/>
                <a:gd name="T11" fmla="*/ 340 h 340"/>
                <a:gd name="T12" fmla="*/ 27 w 27"/>
                <a:gd name="T13" fmla="*/ 340 h 340"/>
                <a:gd name="T14" fmla="*/ 10 w 27"/>
                <a:gd name="T15" fmla="*/ 239 h 340"/>
                <a:gd name="T16" fmla="*/ 7 w 27"/>
                <a:gd name="T17" fmla="*/ 165 h 340"/>
                <a:gd name="T18" fmla="*/ 26 w 27"/>
                <a:gd name="T19" fmla="*/ 64 h 340"/>
                <a:gd name="T20" fmla="*/ 14 w 27"/>
                <a:gd name="T21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340">
                  <a:moveTo>
                    <a:pt x="14" y="0"/>
                  </a:moveTo>
                  <a:cubicBezTo>
                    <a:pt x="14" y="2"/>
                    <a:pt x="14" y="4"/>
                    <a:pt x="15" y="5"/>
                  </a:cubicBezTo>
                  <a:cubicBezTo>
                    <a:pt x="22" y="22"/>
                    <a:pt x="23" y="45"/>
                    <a:pt x="22" y="59"/>
                  </a:cubicBezTo>
                  <a:cubicBezTo>
                    <a:pt x="21" y="83"/>
                    <a:pt x="5" y="134"/>
                    <a:pt x="3" y="161"/>
                  </a:cubicBezTo>
                  <a:cubicBezTo>
                    <a:pt x="0" y="188"/>
                    <a:pt x="8" y="211"/>
                    <a:pt x="6" y="235"/>
                  </a:cubicBezTo>
                  <a:cubicBezTo>
                    <a:pt x="4" y="254"/>
                    <a:pt x="21" y="296"/>
                    <a:pt x="23" y="340"/>
                  </a:cubicBezTo>
                  <a:cubicBezTo>
                    <a:pt x="27" y="340"/>
                    <a:pt x="27" y="340"/>
                    <a:pt x="27" y="340"/>
                  </a:cubicBezTo>
                  <a:cubicBezTo>
                    <a:pt x="24" y="297"/>
                    <a:pt x="8" y="258"/>
                    <a:pt x="10" y="239"/>
                  </a:cubicBezTo>
                  <a:cubicBezTo>
                    <a:pt x="12" y="216"/>
                    <a:pt x="5" y="192"/>
                    <a:pt x="7" y="165"/>
                  </a:cubicBezTo>
                  <a:cubicBezTo>
                    <a:pt x="9" y="138"/>
                    <a:pt x="25" y="87"/>
                    <a:pt x="26" y="64"/>
                  </a:cubicBezTo>
                  <a:cubicBezTo>
                    <a:pt x="27" y="47"/>
                    <a:pt x="26" y="17"/>
                    <a:pt x="14" y="0"/>
                  </a:cubicBezTo>
                </a:path>
              </a:pathLst>
            </a:custGeom>
            <a:solidFill>
              <a:srgbClr val="1E21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65"/>
            <p:cNvSpPr>
              <a:spLocks/>
            </p:cNvSpPr>
            <p:nvPr/>
          </p:nvSpPr>
          <p:spPr bwMode="auto">
            <a:xfrm>
              <a:off x="2459038" y="2565401"/>
              <a:ext cx="20638" cy="33338"/>
            </a:xfrm>
            <a:custGeom>
              <a:avLst/>
              <a:gdLst>
                <a:gd name="T0" fmla="*/ 0 w 4"/>
                <a:gd name="T1" fmla="*/ 0 h 7"/>
                <a:gd name="T2" fmla="*/ 2 w 4"/>
                <a:gd name="T3" fmla="*/ 5 h 7"/>
                <a:gd name="T4" fmla="*/ 4 w 4"/>
                <a:gd name="T5" fmla="*/ 7 h 7"/>
                <a:gd name="T6" fmla="*/ 0 w 4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cubicBezTo>
                    <a:pt x="1" y="2"/>
                    <a:pt x="1" y="3"/>
                    <a:pt x="2" y="5"/>
                  </a:cubicBezTo>
                  <a:cubicBezTo>
                    <a:pt x="2" y="6"/>
                    <a:pt x="3" y="6"/>
                    <a:pt x="4" y="7"/>
                  </a:cubicBezTo>
                  <a:cubicBezTo>
                    <a:pt x="3" y="4"/>
                    <a:pt x="2" y="2"/>
                    <a:pt x="0" y="0"/>
                  </a:cubicBezTo>
                </a:path>
              </a:pathLst>
            </a:custGeom>
            <a:solidFill>
              <a:srgbClr val="1E21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66"/>
            <p:cNvSpPr>
              <a:spLocks/>
            </p:cNvSpPr>
            <p:nvPr/>
          </p:nvSpPr>
          <p:spPr bwMode="auto">
            <a:xfrm>
              <a:off x="2470151" y="2589213"/>
              <a:ext cx="14288" cy="33338"/>
            </a:xfrm>
            <a:custGeom>
              <a:avLst/>
              <a:gdLst>
                <a:gd name="T0" fmla="*/ 0 w 3"/>
                <a:gd name="T1" fmla="*/ 0 h 7"/>
                <a:gd name="T2" fmla="*/ 0 w 3"/>
                <a:gd name="T3" fmla="*/ 2 h 7"/>
                <a:gd name="T4" fmla="*/ 3 w 3"/>
                <a:gd name="T5" fmla="*/ 7 h 7"/>
                <a:gd name="T6" fmla="*/ 2 w 3"/>
                <a:gd name="T7" fmla="*/ 2 h 7"/>
                <a:gd name="T8" fmla="*/ 0 w 3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1" y="4"/>
                    <a:pt x="2" y="6"/>
                    <a:pt x="3" y="7"/>
                  </a:cubicBezTo>
                  <a:cubicBezTo>
                    <a:pt x="2" y="6"/>
                    <a:pt x="2" y="4"/>
                    <a:pt x="2" y="2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solidFill>
              <a:srgbClr val="1B1D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68"/>
            <p:cNvSpPr>
              <a:spLocks/>
            </p:cNvSpPr>
            <p:nvPr/>
          </p:nvSpPr>
          <p:spPr bwMode="auto">
            <a:xfrm>
              <a:off x="1120776" y="3286126"/>
              <a:ext cx="311150" cy="2725738"/>
            </a:xfrm>
            <a:custGeom>
              <a:avLst/>
              <a:gdLst>
                <a:gd name="T0" fmla="*/ 0 w 64"/>
                <a:gd name="T1" fmla="*/ 560 h 560"/>
                <a:gd name="T2" fmla="*/ 62 w 64"/>
                <a:gd name="T3" fmla="*/ 313 h 560"/>
                <a:gd name="T4" fmla="*/ 57 w 64"/>
                <a:gd name="T5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" h="560">
                  <a:moveTo>
                    <a:pt x="0" y="560"/>
                  </a:moveTo>
                  <a:cubicBezTo>
                    <a:pt x="19" y="510"/>
                    <a:pt x="64" y="401"/>
                    <a:pt x="62" y="313"/>
                  </a:cubicBezTo>
                  <a:cubicBezTo>
                    <a:pt x="59" y="218"/>
                    <a:pt x="19" y="10"/>
                    <a:pt x="57" y="0"/>
                  </a:cubicBezTo>
                </a:path>
              </a:pathLst>
            </a:custGeom>
            <a:solidFill>
              <a:srgbClr val="D6A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69"/>
            <p:cNvSpPr>
              <a:spLocks/>
            </p:cNvSpPr>
            <p:nvPr/>
          </p:nvSpPr>
          <p:spPr bwMode="auto">
            <a:xfrm>
              <a:off x="1120776" y="2492376"/>
              <a:ext cx="1436688" cy="3519488"/>
            </a:xfrm>
            <a:custGeom>
              <a:avLst/>
              <a:gdLst>
                <a:gd name="T0" fmla="*/ 57 w 295"/>
                <a:gd name="T1" fmla="*/ 163 h 723"/>
                <a:gd name="T2" fmla="*/ 129 w 295"/>
                <a:gd name="T3" fmla="*/ 133 h 723"/>
                <a:gd name="T4" fmla="*/ 191 w 295"/>
                <a:gd name="T5" fmla="*/ 104 h 723"/>
                <a:gd name="T6" fmla="*/ 202 w 295"/>
                <a:gd name="T7" fmla="*/ 50 h 723"/>
                <a:gd name="T8" fmla="*/ 255 w 295"/>
                <a:gd name="T9" fmla="*/ 5 h 723"/>
                <a:gd name="T10" fmla="*/ 287 w 295"/>
                <a:gd name="T11" fmla="*/ 81 h 723"/>
                <a:gd name="T12" fmla="*/ 268 w 295"/>
                <a:gd name="T13" fmla="*/ 183 h 723"/>
                <a:gd name="T14" fmla="*/ 271 w 295"/>
                <a:gd name="T15" fmla="*/ 257 h 723"/>
                <a:gd name="T16" fmla="*/ 287 w 295"/>
                <a:gd name="T17" fmla="*/ 394 h 723"/>
                <a:gd name="T18" fmla="*/ 231 w 295"/>
                <a:gd name="T19" fmla="*/ 549 h 723"/>
                <a:gd name="T20" fmla="*/ 188 w 295"/>
                <a:gd name="T21" fmla="*/ 723 h 723"/>
                <a:gd name="T22" fmla="*/ 0 w 295"/>
                <a:gd name="T23" fmla="*/ 723 h 723"/>
                <a:gd name="T24" fmla="*/ 57 w 295"/>
                <a:gd name="T25" fmla="*/ 163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5" h="723">
                  <a:moveTo>
                    <a:pt x="57" y="163"/>
                  </a:moveTo>
                  <a:cubicBezTo>
                    <a:pt x="72" y="151"/>
                    <a:pt x="106" y="143"/>
                    <a:pt x="129" y="133"/>
                  </a:cubicBezTo>
                  <a:cubicBezTo>
                    <a:pt x="153" y="122"/>
                    <a:pt x="185" y="107"/>
                    <a:pt x="191" y="104"/>
                  </a:cubicBezTo>
                  <a:cubicBezTo>
                    <a:pt x="196" y="101"/>
                    <a:pt x="195" y="74"/>
                    <a:pt x="202" y="50"/>
                  </a:cubicBezTo>
                  <a:cubicBezTo>
                    <a:pt x="210" y="27"/>
                    <a:pt x="224" y="0"/>
                    <a:pt x="255" y="5"/>
                  </a:cubicBezTo>
                  <a:cubicBezTo>
                    <a:pt x="286" y="11"/>
                    <a:pt x="288" y="58"/>
                    <a:pt x="287" y="81"/>
                  </a:cubicBezTo>
                  <a:cubicBezTo>
                    <a:pt x="286" y="105"/>
                    <a:pt x="270" y="156"/>
                    <a:pt x="268" y="183"/>
                  </a:cubicBezTo>
                  <a:cubicBezTo>
                    <a:pt x="265" y="210"/>
                    <a:pt x="273" y="233"/>
                    <a:pt x="271" y="257"/>
                  </a:cubicBezTo>
                  <a:cubicBezTo>
                    <a:pt x="269" y="281"/>
                    <a:pt x="295" y="339"/>
                    <a:pt x="287" y="394"/>
                  </a:cubicBezTo>
                  <a:cubicBezTo>
                    <a:pt x="279" y="449"/>
                    <a:pt x="249" y="502"/>
                    <a:pt x="231" y="549"/>
                  </a:cubicBezTo>
                  <a:cubicBezTo>
                    <a:pt x="215" y="594"/>
                    <a:pt x="192" y="670"/>
                    <a:pt x="188" y="723"/>
                  </a:cubicBezTo>
                  <a:cubicBezTo>
                    <a:pt x="0" y="723"/>
                    <a:pt x="0" y="723"/>
                    <a:pt x="0" y="723"/>
                  </a:cubicBezTo>
                  <a:cubicBezTo>
                    <a:pt x="57" y="163"/>
                    <a:pt x="57" y="163"/>
                    <a:pt x="57" y="163"/>
                  </a:cubicBezTo>
                </a:path>
              </a:pathLst>
            </a:custGeom>
            <a:solidFill>
              <a:srgbClr val="D6A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Freeform 70"/>
            <p:cNvSpPr>
              <a:spLocks/>
            </p:cNvSpPr>
            <p:nvPr/>
          </p:nvSpPr>
          <p:spPr bwMode="auto">
            <a:xfrm>
              <a:off x="2060576" y="2968626"/>
              <a:ext cx="0" cy="4763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  <a:gd name="T4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9C1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Freeform 71"/>
            <p:cNvSpPr>
              <a:spLocks noEditPoints="1"/>
            </p:cNvSpPr>
            <p:nvPr/>
          </p:nvSpPr>
          <p:spPr bwMode="auto">
            <a:xfrm>
              <a:off x="1700213" y="2968626"/>
              <a:ext cx="360363" cy="842963"/>
            </a:xfrm>
            <a:custGeom>
              <a:avLst/>
              <a:gdLst>
                <a:gd name="T0" fmla="*/ 74 w 74"/>
                <a:gd name="T1" fmla="*/ 3 h 173"/>
                <a:gd name="T2" fmla="*/ 56 w 74"/>
                <a:gd name="T3" fmla="*/ 50 h 173"/>
                <a:gd name="T4" fmla="*/ 52 w 74"/>
                <a:gd name="T5" fmla="*/ 49 h 173"/>
                <a:gd name="T6" fmla="*/ 39 w 74"/>
                <a:gd name="T7" fmla="*/ 44 h 173"/>
                <a:gd name="T8" fmla="*/ 51 w 74"/>
                <a:gd name="T9" fmla="*/ 57 h 173"/>
                <a:gd name="T10" fmla="*/ 57 w 74"/>
                <a:gd name="T11" fmla="*/ 66 h 173"/>
                <a:gd name="T12" fmla="*/ 9 w 74"/>
                <a:gd name="T13" fmla="*/ 53 h 173"/>
                <a:gd name="T14" fmla="*/ 4 w 74"/>
                <a:gd name="T15" fmla="*/ 53 h 173"/>
                <a:gd name="T16" fmla="*/ 58 w 74"/>
                <a:gd name="T17" fmla="*/ 83 h 173"/>
                <a:gd name="T18" fmla="*/ 53 w 74"/>
                <a:gd name="T19" fmla="*/ 92 h 173"/>
                <a:gd name="T20" fmla="*/ 16 w 74"/>
                <a:gd name="T21" fmla="*/ 77 h 173"/>
                <a:gd name="T22" fmla="*/ 12 w 74"/>
                <a:gd name="T23" fmla="*/ 76 h 173"/>
                <a:gd name="T24" fmla="*/ 49 w 74"/>
                <a:gd name="T25" fmla="*/ 108 h 173"/>
                <a:gd name="T26" fmla="*/ 21 w 74"/>
                <a:gd name="T27" fmla="*/ 139 h 173"/>
                <a:gd name="T28" fmla="*/ 14 w 74"/>
                <a:gd name="T29" fmla="*/ 144 h 173"/>
                <a:gd name="T30" fmla="*/ 32 w 74"/>
                <a:gd name="T31" fmla="*/ 142 h 173"/>
                <a:gd name="T32" fmla="*/ 32 w 74"/>
                <a:gd name="T33" fmla="*/ 142 h 173"/>
                <a:gd name="T34" fmla="*/ 30 w 74"/>
                <a:gd name="T35" fmla="*/ 158 h 173"/>
                <a:gd name="T36" fmla="*/ 20 w 74"/>
                <a:gd name="T37" fmla="*/ 173 h 173"/>
                <a:gd name="T38" fmla="*/ 20 w 74"/>
                <a:gd name="T39" fmla="*/ 173 h 173"/>
                <a:gd name="T40" fmla="*/ 33 w 74"/>
                <a:gd name="T41" fmla="*/ 158 h 173"/>
                <a:gd name="T42" fmla="*/ 74 w 74"/>
                <a:gd name="T43" fmla="*/ 3 h 173"/>
                <a:gd name="T44" fmla="*/ 74 w 74"/>
                <a:gd name="T45" fmla="*/ 0 h 173"/>
                <a:gd name="T46" fmla="*/ 74 w 74"/>
                <a:gd name="T47" fmla="*/ 1 h 173"/>
                <a:gd name="T48" fmla="*/ 74 w 74"/>
                <a:gd name="T49" fmla="*/ 3 h 173"/>
                <a:gd name="T50" fmla="*/ 74 w 74"/>
                <a:gd name="T51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4" h="173">
                  <a:moveTo>
                    <a:pt x="74" y="3"/>
                  </a:moveTo>
                  <a:cubicBezTo>
                    <a:pt x="69" y="39"/>
                    <a:pt x="63" y="50"/>
                    <a:pt x="56" y="50"/>
                  </a:cubicBezTo>
                  <a:cubicBezTo>
                    <a:pt x="55" y="50"/>
                    <a:pt x="54" y="49"/>
                    <a:pt x="52" y="49"/>
                  </a:cubicBezTo>
                  <a:cubicBezTo>
                    <a:pt x="48" y="47"/>
                    <a:pt x="41" y="44"/>
                    <a:pt x="39" y="44"/>
                  </a:cubicBezTo>
                  <a:cubicBezTo>
                    <a:pt x="36" y="44"/>
                    <a:pt x="38" y="47"/>
                    <a:pt x="51" y="57"/>
                  </a:cubicBezTo>
                  <a:cubicBezTo>
                    <a:pt x="59" y="64"/>
                    <a:pt x="60" y="66"/>
                    <a:pt x="57" y="66"/>
                  </a:cubicBezTo>
                  <a:cubicBezTo>
                    <a:pt x="50" y="66"/>
                    <a:pt x="24" y="56"/>
                    <a:pt x="9" y="53"/>
                  </a:cubicBezTo>
                  <a:cubicBezTo>
                    <a:pt x="6" y="53"/>
                    <a:pt x="5" y="53"/>
                    <a:pt x="4" y="53"/>
                  </a:cubicBezTo>
                  <a:cubicBezTo>
                    <a:pt x="0" y="53"/>
                    <a:pt x="56" y="64"/>
                    <a:pt x="58" y="83"/>
                  </a:cubicBezTo>
                  <a:cubicBezTo>
                    <a:pt x="59" y="89"/>
                    <a:pt x="57" y="92"/>
                    <a:pt x="53" y="92"/>
                  </a:cubicBezTo>
                  <a:cubicBezTo>
                    <a:pt x="44" y="92"/>
                    <a:pt x="27" y="81"/>
                    <a:pt x="16" y="77"/>
                  </a:cubicBezTo>
                  <a:cubicBezTo>
                    <a:pt x="14" y="77"/>
                    <a:pt x="13" y="76"/>
                    <a:pt x="12" y="76"/>
                  </a:cubicBezTo>
                  <a:cubicBezTo>
                    <a:pt x="7" y="76"/>
                    <a:pt x="42" y="98"/>
                    <a:pt x="49" y="108"/>
                  </a:cubicBezTo>
                  <a:cubicBezTo>
                    <a:pt x="58" y="119"/>
                    <a:pt x="41" y="133"/>
                    <a:pt x="21" y="139"/>
                  </a:cubicBezTo>
                  <a:cubicBezTo>
                    <a:pt x="10" y="143"/>
                    <a:pt x="9" y="144"/>
                    <a:pt x="14" y="144"/>
                  </a:cubicBezTo>
                  <a:cubicBezTo>
                    <a:pt x="17" y="144"/>
                    <a:pt x="24" y="143"/>
                    <a:pt x="32" y="142"/>
                  </a:cubicBezTo>
                  <a:cubicBezTo>
                    <a:pt x="32" y="142"/>
                    <a:pt x="32" y="142"/>
                    <a:pt x="32" y="142"/>
                  </a:cubicBezTo>
                  <a:cubicBezTo>
                    <a:pt x="38" y="142"/>
                    <a:pt x="35" y="150"/>
                    <a:pt x="30" y="158"/>
                  </a:cubicBezTo>
                  <a:cubicBezTo>
                    <a:pt x="26" y="165"/>
                    <a:pt x="20" y="173"/>
                    <a:pt x="20" y="173"/>
                  </a:cubicBezTo>
                  <a:cubicBezTo>
                    <a:pt x="20" y="173"/>
                    <a:pt x="20" y="173"/>
                    <a:pt x="20" y="173"/>
                  </a:cubicBezTo>
                  <a:cubicBezTo>
                    <a:pt x="21" y="173"/>
                    <a:pt x="24" y="169"/>
                    <a:pt x="33" y="158"/>
                  </a:cubicBezTo>
                  <a:cubicBezTo>
                    <a:pt x="67" y="116"/>
                    <a:pt x="71" y="25"/>
                    <a:pt x="74" y="3"/>
                  </a:cubicBezTo>
                  <a:moveTo>
                    <a:pt x="74" y="0"/>
                  </a:move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2"/>
                    <a:pt x="74" y="3"/>
                  </a:cubicBezTo>
                  <a:cubicBezTo>
                    <a:pt x="74" y="2"/>
                    <a:pt x="74" y="1"/>
                    <a:pt x="74" y="0"/>
                  </a:cubicBezTo>
                </a:path>
              </a:pathLst>
            </a:custGeom>
            <a:solidFill>
              <a:srgbClr val="C087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Freeform 72"/>
            <p:cNvSpPr>
              <a:spLocks noEditPoints="1"/>
            </p:cNvSpPr>
            <p:nvPr/>
          </p:nvSpPr>
          <p:spPr bwMode="auto">
            <a:xfrm>
              <a:off x="2114551" y="2998788"/>
              <a:ext cx="315913" cy="146050"/>
            </a:xfrm>
            <a:custGeom>
              <a:avLst/>
              <a:gdLst>
                <a:gd name="T0" fmla="*/ 9 w 65"/>
                <a:gd name="T1" fmla="*/ 18 h 30"/>
                <a:gd name="T2" fmla="*/ 58 w 65"/>
                <a:gd name="T3" fmla="*/ 30 h 30"/>
                <a:gd name="T4" fmla="*/ 59 w 65"/>
                <a:gd name="T5" fmla="*/ 30 h 30"/>
                <a:gd name="T6" fmla="*/ 65 w 65"/>
                <a:gd name="T7" fmla="*/ 30 h 30"/>
                <a:gd name="T8" fmla="*/ 65 w 65"/>
                <a:gd name="T9" fmla="*/ 30 h 30"/>
                <a:gd name="T10" fmla="*/ 9 w 65"/>
                <a:gd name="T11" fmla="*/ 18 h 30"/>
                <a:gd name="T12" fmla="*/ 14 w 65"/>
                <a:gd name="T13" fmla="*/ 0 h 30"/>
                <a:gd name="T14" fmla="*/ 12 w 65"/>
                <a:gd name="T15" fmla="*/ 0 h 30"/>
                <a:gd name="T16" fmla="*/ 0 w 65"/>
                <a:gd name="T17" fmla="*/ 1 h 30"/>
                <a:gd name="T18" fmla="*/ 29 w 65"/>
                <a:gd name="T19" fmla="*/ 4 h 30"/>
                <a:gd name="T20" fmla="*/ 43 w 65"/>
                <a:gd name="T21" fmla="*/ 2 h 30"/>
                <a:gd name="T22" fmla="*/ 14 w 65"/>
                <a:gd name="T2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30">
                  <a:moveTo>
                    <a:pt x="9" y="18"/>
                  </a:moveTo>
                  <a:cubicBezTo>
                    <a:pt x="22" y="24"/>
                    <a:pt x="44" y="30"/>
                    <a:pt x="58" y="30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62" y="30"/>
                    <a:pt x="64" y="30"/>
                    <a:pt x="65" y="30"/>
                  </a:cubicBezTo>
                  <a:cubicBezTo>
                    <a:pt x="65" y="30"/>
                    <a:pt x="65" y="30"/>
                    <a:pt x="65" y="30"/>
                  </a:cubicBezTo>
                  <a:cubicBezTo>
                    <a:pt x="55" y="29"/>
                    <a:pt x="26" y="21"/>
                    <a:pt x="9" y="18"/>
                  </a:cubicBezTo>
                  <a:moveTo>
                    <a:pt x="14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3" y="0"/>
                    <a:pt x="0" y="1"/>
                  </a:cubicBezTo>
                  <a:cubicBezTo>
                    <a:pt x="5" y="2"/>
                    <a:pt x="17" y="4"/>
                    <a:pt x="29" y="4"/>
                  </a:cubicBezTo>
                  <a:cubicBezTo>
                    <a:pt x="34" y="4"/>
                    <a:pt x="39" y="4"/>
                    <a:pt x="43" y="2"/>
                  </a:cubicBezTo>
                  <a:cubicBezTo>
                    <a:pt x="36" y="2"/>
                    <a:pt x="24" y="0"/>
                    <a:pt x="14" y="0"/>
                  </a:cubicBezTo>
                </a:path>
              </a:pathLst>
            </a:custGeom>
            <a:solidFill>
              <a:srgbClr val="C087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Freeform 73"/>
            <p:cNvSpPr>
              <a:spLocks noEditPoints="1"/>
            </p:cNvSpPr>
            <p:nvPr/>
          </p:nvSpPr>
          <p:spPr bwMode="auto">
            <a:xfrm>
              <a:off x="2211388" y="2497138"/>
              <a:ext cx="247650" cy="68263"/>
            </a:xfrm>
            <a:custGeom>
              <a:avLst/>
              <a:gdLst>
                <a:gd name="T0" fmla="*/ 34 w 51"/>
                <a:gd name="T1" fmla="*/ 2 h 14"/>
                <a:gd name="T2" fmla="*/ 34 w 51"/>
                <a:gd name="T3" fmla="*/ 2 h 14"/>
                <a:gd name="T4" fmla="*/ 37 w 51"/>
                <a:gd name="T5" fmla="*/ 3 h 14"/>
                <a:gd name="T6" fmla="*/ 37 w 51"/>
                <a:gd name="T7" fmla="*/ 3 h 14"/>
                <a:gd name="T8" fmla="*/ 36 w 51"/>
                <a:gd name="T9" fmla="*/ 6 h 14"/>
                <a:gd name="T10" fmla="*/ 51 w 51"/>
                <a:gd name="T11" fmla="*/ 14 h 14"/>
                <a:gd name="T12" fmla="*/ 34 w 51"/>
                <a:gd name="T13" fmla="*/ 2 h 14"/>
                <a:gd name="T14" fmla="*/ 26 w 51"/>
                <a:gd name="T15" fmla="*/ 0 h 14"/>
                <a:gd name="T16" fmla="*/ 26 w 51"/>
                <a:gd name="T17" fmla="*/ 0 h 14"/>
                <a:gd name="T18" fmla="*/ 26 w 51"/>
                <a:gd name="T19" fmla="*/ 0 h 14"/>
                <a:gd name="T20" fmla="*/ 20 w 51"/>
                <a:gd name="T21" fmla="*/ 0 h 14"/>
                <a:gd name="T22" fmla="*/ 0 w 51"/>
                <a:gd name="T23" fmla="*/ 12 h 14"/>
                <a:gd name="T24" fmla="*/ 19 w 51"/>
                <a:gd name="T25" fmla="*/ 4 h 14"/>
                <a:gd name="T26" fmla="*/ 19 w 51"/>
                <a:gd name="T27" fmla="*/ 0 h 14"/>
                <a:gd name="T28" fmla="*/ 20 w 51"/>
                <a:gd name="T29" fmla="*/ 0 h 14"/>
                <a:gd name="T30" fmla="*/ 26 w 51"/>
                <a:gd name="T31" fmla="*/ 0 h 14"/>
                <a:gd name="T32" fmla="*/ 20 w 51"/>
                <a:gd name="T3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14">
                  <a:moveTo>
                    <a:pt x="34" y="2"/>
                  </a:moveTo>
                  <a:cubicBezTo>
                    <a:pt x="34" y="2"/>
                    <a:pt x="34" y="2"/>
                    <a:pt x="34" y="2"/>
                  </a:cubicBezTo>
                  <a:cubicBezTo>
                    <a:pt x="35" y="2"/>
                    <a:pt x="36" y="2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43" y="7"/>
                    <a:pt x="48" y="10"/>
                    <a:pt x="51" y="14"/>
                  </a:cubicBezTo>
                  <a:cubicBezTo>
                    <a:pt x="48" y="7"/>
                    <a:pt x="42" y="4"/>
                    <a:pt x="34" y="2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20" y="0"/>
                  </a:moveTo>
                  <a:cubicBezTo>
                    <a:pt x="9" y="0"/>
                    <a:pt x="3" y="4"/>
                    <a:pt x="0" y="12"/>
                  </a:cubicBezTo>
                  <a:cubicBezTo>
                    <a:pt x="5" y="8"/>
                    <a:pt x="11" y="5"/>
                    <a:pt x="19" y="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2" y="0"/>
                    <a:pt x="24" y="0"/>
                    <a:pt x="26" y="0"/>
                  </a:cubicBezTo>
                  <a:cubicBezTo>
                    <a:pt x="24" y="0"/>
                    <a:pt x="22" y="0"/>
                    <a:pt x="20" y="0"/>
                  </a:cubicBezTo>
                </a:path>
              </a:pathLst>
            </a:custGeom>
            <a:solidFill>
              <a:srgbClr val="7674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Freeform 74"/>
            <p:cNvSpPr>
              <a:spLocks/>
            </p:cNvSpPr>
            <p:nvPr/>
          </p:nvSpPr>
          <p:spPr bwMode="auto">
            <a:xfrm>
              <a:off x="2386013" y="2525713"/>
              <a:ext cx="84138" cy="63500"/>
            </a:xfrm>
            <a:custGeom>
              <a:avLst/>
              <a:gdLst>
                <a:gd name="T0" fmla="*/ 0 w 17"/>
                <a:gd name="T1" fmla="*/ 0 h 13"/>
                <a:gd name="T2" fmla="*/ 0 w 17"/>
                <a:gd name="T3" fmla="*/ 0 h 13"/>
                <a:gd name="T4" fmla="*/ 13 w 17"/>
                <a:gd name="T5" fmla="*/ 9 h 13"/>
                <a:gd name="T6" fmla="*/ 17 w 17"/>
                <a:gd name="T7" fmla="*/ 13 h 13"/>
                <a:gd name="T8" fmla="*/ 15 w 17"/>
                <a:gd name="T9" fmla="*/ 8 h 13"/>
                <a:gd name="T10" fmla="*/ 0 w 17"/>
                <a:gd name="T1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" y="2"/>
                    <a:pt x="9" y="5"/>
                    <a:pt x="13" y="9"/>
                  </a:cubicBezTo>
                  <a:cubicBezTo>
                    <a:pt x="14" y="10"/>
                    <a:pt x="16" y="11"/>
                    <a:pt x="17" y="13"/>
                  </a:cubicBezTo>
                  <a:cubicBezTo>
                    <a:pt x="16" y="11"/>
                    <a:pt x="16" y="10"/>
                    <a:pt x="15" y="8"/>
                  </a:cubicBezTo>
                  <a:cubicBezTo>
                    <a:pt x="12" y="4"/>
                    <a:pt x="7" y="1"/>
                    <a:pt x="0" y="0"/>
                  </a:cubicBezTo>
                </a:path>
              </a:pathLst>
            </a:custGeom>
            <a:solidFill>
              <a:srgbClr val="7471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Freeform 75"/>
            <p:cNvSpPr>
              <a:spLocks/>
            </p:cNvSpPr>
            <p:nvPr/>
          </p:nvSpPr>
          <p:spPr bwMode="auto">
            <a:xfrm>
              <a:off x="2449513" y="2570163"/>
              <a:ext cx="20638" cy="28575"/>
            </a:xfrm>
            <a:custGeom>
              <a:avLst/>
              <a:gdLst>
                <a:gd name="T0" fmla="*/ 0 w 4"/>
                <a:gd name="T1" fmla="*/ 0 h 6"/>
                <a:gd name="T2" fmla="*/ 4 w 4"/>
                <a:gd name="T3" fmla="*/ 6 h 6"/>
                <a:gd name="T4" fmla="*/ 4 w 4"/>
                <a:gd name="T5" fmla="*/ 4 h 6"/>
                <a:gd name="T6" fmla="*/ 0 w 4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cubicBezTo>
                    <a:pt x="1" y="2"/>
                    <a:pt x="3" y="4"/>
                    <a:pt x="4" y="6"/>
                  </a:cubicBezTo>
                  <a:cubicBezTo>
                    <a:pt x="4" y="5"/>
                    <a:pt x="4" y="5"/>
                    <a:pt x="4" y="4"/>
                  </a:cubicBezTo>
                  <a:cubicBezTo>
                    <a:pt x="3" y="2"/>
                    <a:pt x="1" y="1"/>
                    <a:pt x="0" y="0"/>
                  </a:cubicBezTo>
                </a:path>
              </a:pathLst>
            </a:custGeom>
            <a:solidFill>
              <a:srgbClr val="72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Freeform 76"/>
            <p:cNvSpPr>
              <a:spLocks noEditPoints="1"/>
            </p:cNvSpPr>
            <p:nvPr/>
          </p:nvSpPr>
          <p:spPr bwMode="auto">
            <a:xfrm>
              <a:off x="2182813" y="2516188"/>
              <a:ext cx="292100" cy="315913"/>
            </a:xfrm>
            <a:custGeom>
              <a:avLst/>
              <a:gdLst>
                <a:gd name="T0" fmla="*/ 27 w 60"/>
                <a:gd name="T1" fmla="*/ 64 h 65"/>
                <a:gd name="T2" fmla="*/ 34 w 60"/>
                <a:gd name="T3" fmla="*/ 65 h 65"/>
                <a:gd name="T4" fmla="*/ 31 w 60"/>
                <a:gd name="T5" fmla="*/ 64 h 65"/>
                <a:gd name="T6" fmla="*/ 31 w 60"/>
                <a:gd name="T7" fmla="*/ 64 h 65"/>
                <a:gd name="T8" fmla="*/ 30 w 60"/>
                <a:gd name="T9" fmla="*/ 64 h 65"/>
                <a:gd name="T10" fmla="*/ 27 w 60"/>
                <a:gd name="T11" fmla="*/ 64 h 65"/>
                <a:gd name="T12" fmla="*/ 27 w 60"/>
                <a:gd name="T13" fmla="*/ 64 h 65"/>
                <a:gd name="T14" fmla="*/ 27 w 60"/>
                <a:gd name="T15" fmla="*/ 64 h 65"/>
                <a:gd name="T16" fmla="*/ 27 w 60"/>
                <a:gd name="T17" fmla="*/ 64 h 65"/>
                <a:gd name="T18" fmla="*/ 42 w 60"/>
                <a:gd name="T19" fmla="*/ 2 h 65"/>
                <a:gd name="T20" fmla="*/ 34 w 60"/>
                <a:gd name="T21" fmla="*/ 65 h 65"/>
                <a:gd name="T22" fmla="*/ 37 w 60"/>
                <a:gd name="T23" fmla="*/ 65 h 65"/>
                <a:gd name="T24" fmla="*/ 58 w 60"/>
                <a:gd name="T25" fmla="*/ 35 h 65"/>
                <a:gd name="T26" fmla="*/ 58 w 60"/>
                <a:gd name="T27" fmla="*/ 35 h 65"/>
                <a:gd name="T28" fmla="*/ 59 w 60"/>
                <a:gd name="T29" fmla="*/ 17 h 65"/>
                <a:gd name="T30" fmla="*/ 59 w 60"/>
                <a:gd name="T31" fmla="*/ 17 h 65"/>
                <a:gd name="T32" fmla="*/ 59 w 60"/>
                <a:gd name="T33" fmla="*/ 17 h 65"/>
                <a:gd name="T34" fmla="*/ 55 w 60"/>
                <a:gd name="T35" fmla="*/ 11 h 65"/>
                <a:gd name="T36" fmla="*/ 42 w 60"/>
                <a:gd name="T37" fmla="*/ 2 h 65"/>
                <a:gd name="T38" fmla="*/ 25 w 60"/>
                <a:gd name="T39" fmla="*/ 0 h 65"/>
                <a:gd name="T40" fmla="*/ 6 w 60"/>
                <a:gd name="T41" fmla="*/ 8 h 65"/>
                <a:gd name="T42" fmla="*/ 6 w 60"/>
                <a:gd name="T43" fmla="*/ 8 h 65"/>
                <a:gd name="T44" fmla="*/ 6 w 60"/>
                <a:gd name="T45" fmla="*/ 8 h 65"/>
                <a:gd name="T46" fmla="*/ 6 w 60"/>
                <a:gd name="T47" fmla="*/ 8 h 65"/>
                <a:gd name="T48" fmla="*/ 3 w 60"/>
                <a:gd name="T49" fmla="*/ 19 h 65"/>
                <a:gd name="T50" fmla="*/ 1 w 60"/>
                <a:gd name="T51" fmla="*/ 28 h 65"/>
                <a:gd name="T52" fmla="*/ 0 w 60"/>
                <a:gd name="T53" fmla="*/ 40 h 65"/>
                <a:gd name="T54" fmla="*/ 0 w 60"/>
                <a:gd name="T55" fmla="*/ 40 h 65"/>
                <a:gd name="T56" fmla="*/ 2 w 60"/>
                <a:gd name="T57" fmla="*/ 50 h 65"/>
                <a:gd name="T58" fmla="*/ 20 w 60"/>
                <a:gd name="T59" fmla="*/ 62 h 65"/>
                <a:gd name="T60" fmla="*/ 17 w 60"/>
                <a:gd name="T61" fmla="*/ 61 h 65"/>
                <a:gd name="T62" fmla="*/ 25 w 60"/>
                <a:gd name="T63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" h="65">
                  <a:moveTo>
                    <a:pt x="27" y="64"/>
                  </a:moveTo>
                  <a:cubicBezTo>
                    <a:pt x="30" y="64"/>
                    <a:pt x="32" y="64"/>
                    <a:pt x="34" y="65"/>
                  </a:cubicBezTo>
                  <a:cubicBezTo>
                    <a:pt x="33" y="65"/>
                    <a:pt x="32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0" y="64"/>
                  </a:cubicBezTo>
                  <a:cubicBezTo>
                    <a:pt x="29" y="64"/>
                    <a:pt x="28" y="64"/>
                    <a:pt x="27" y="64"/>
                  </a:cubicBezTo>
                  <a:moveTo>
                    <a:pt x="27" y="64"/>
                  </a:moveTo>
                  <a:cubicBezTo>
                    <a:pt x="27" y="64"/>
                    <a:pt x="27" y="64"/>
                    <a:pt x="27" y="64"/>
                  </a:cubicBezTo>
                  <a:cubicBezTo>
                    <a:pt x="27" y="64"/>
                    <a:pt x="27" y="64"/>
                    <a:pt x="27" y="64"/>
                  </a:cubicBezTo>
                  <a:moveTo>
                    <a:pt x="42" y="2"/>
                  </a:moveTo>
                  <a:cubicBezTo>
                    <a:pt x="34" y="65"/>
                    <a:pt x="34" y="65"/>
                    <a:pt x="34" y="65"/>
                  </a:cubicBezTo>
                  <a:cubicBezTo>
                    <a:pt x="35" y="65"/>
                    <a:pt x="36" y="65"/>
                    <a:pt x="37" y="65"/>
                  </a:cubicBezTo>
                  <a:cubicBezTo>
                    <a:pt x="51" y="65"/>
                    <a:pt x="54" y="57"/>
                    <a:pt x="58" y="35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60" y="28"/>
                    <a:pt x="60" y="22"/>
                    <a:pt x="59" y="17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8" y="15"/>
                    <a:pt x="56" y="13"/>
                    <a:pt x="55" y="11"/>
                  </a:cubicBezTo>
                  <a:cubicBezTo>
                    <a:pt x="51" y="7"/>
                    <a:pt x="47" y="4"/>
                    <a:pt x="42" y="2"/>
                  </a:cubicBezTo>
                  <a:moveTo>
                    <a:pt x="25" y="0"/>
                  </a:moveTo>
                  <a:cubicBezTo>
                    <a:pt x="17" y="1"/>
                    <a:pt x="11" y="4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11"/>
                    <a:pt x="4" y="15"/>
                    <a:pt x="3" y="19"/>
                  </a:cubicBezTo>
                  <a:cubicBezTo>
                    <a:pt x="2" y="22"/>
                    <a:pt x="1" y="25"/>
                    <a:pt x="1" y="28"/>
                  </a:cubicBezTo>
                  <a:cubicBezTo>
                    <a:pt x="0" y="32"/>
                    <a:pt x="0" y="36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4"/>
                    <a:pt x="0" y="47"/>
                    <a:pt x="2" y="50"/>
                  </a:cubicBezTo>
                  <a:cubicBezTo>
                    <a:pt x="4" y="56"/>
                    <a:pt x="10" y="60"/>
                    <a:pt x="20" y="62"/>
                  </a:cubicBezTo>
                  <a:cubicBezTo>
                    <a:pt x="19" y="62"/>
                    <a:pt x="18" y="62"/>
                    <a:pt x="17" y="61"/>
                  </a:cubicBezTo>
                  <a:cubicBezTo>
                    <a:pt x="25" y="0"/>
                    <a:pt x="25" y="0"/>
                    <a:pt x="25" y="0"/>
                  </a:cubicBezTo>
                </a:path>
              </a:pathLst>
            </a:custGeom>
            <a:solidFill>
              <a:srgbClr val="E8C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Freeform 77"/>
            <p:cNvSpPr>
              <a:spLocks/>
            </p:cNvSpPr>
            <p:nvPr/>
          </p:nvSpPr>
          <p:spPr bwMode="auto">
            <a:xfrm>
              <a:off x="2157413" y="2555876"/>
              <a:ext cx="322263" cy="287338"/>
            </a:xfrm>
            <a:custGeom>
              <a:avLst/>
              <a:gdLst>
                <a:gd name="T0" fmla="*/ 11 w 66"/>
                <a:gd name="T1" fmla="*/ 0 h 59"/>
                <a:gd name="T2" fmla="*/ 8 w 66"/>
                <a:gd name="T3" fmla="*/ 2 h 59"/>
                <a:gd name="T4" fmla="*/ 4 w 66"/>
                <a:gd name="T5" fmla="*/ 20 h 59"/>
                <a:gd name="T6" fmla="*/ 30 w 66"/>
                <a:gd name="T7" fmla="*/ 57 h 59"/>
                <a:gd name="T8" fmla="*/ 42 w 66"/>
                <a:gd name="T9" fmla="*/ 59 h 59"/>
                <a:gd name="T10" fmla="*/ 43 w 66"/>
                <a:gd name="T11" fmla="*/ 59 h 59"/>
                <a:gd name="T12" fmla="*/ 65 w 66"/>
                <a:gd name="T13" fmla="*/ 27 h 59"/>
                <a:gd name="T14" fmla="*/ 66 w 66"/>
                <a:gd name="T15" fmla="*/ 13 h 59"/>
                <a:gd name="T16" fmla="*/ 64 w 66"/>
                <a:gd name="T17" fmla="*/ 9 h 59"/>
                <a:gd name="T18" fmla="*/ 65 w 66"/>
                <a:gd name="T19" fmla="*/ 14 h 59"/>
                <a:gd name="T20" fmla="*/ 65 w 66"/>
                <a:gd name="T21" fmla="*/ 15 h 59"/>
                <a:gd name="T22" fmla="*/ 63 w 66"/>
                <a:gd name="T23" fmla="*/ 27 h 59"/>
                <a:gd name="T24" fmla="*/ 63 w 66"/>
                <a:gd name="T25" fmla="*/ 27 h 59"/>
                <a:gd name="T26" fmla="*/ 42 w 66"/>
                <a:gd name="T27" fmla="*/ 57 h 59"/>
                <a:gd name="T28" fmla="*/ 42 w 66"/>
                <a:gd name="T29" fmla="*/ 57 h 59"/>
                <a:gd name="T30" fmla="*/ 42 w 66"/>
                <a:gd name="T31" fmla="*/ 57 h 59"/>
                <a:gd name="T32" fmla="*/ 39 w 66"/>
                <a:gd name="T33" fmla="*/ 57 h 59"/>
                <a:gd name="T34" fmla="*/ 39 w 66"/>
                <a:gd name="T35" fmla="*/ 57 h 59"/>
                <a:gd name="T36" fmla="*/ 39 w 66"/>
                <a:gd name="T37" fmla="*/ 57 h 59"/>
                <a:gd name="T38" fmla="*/ 32 w 66"/>
                <a:gd name="T39" fmla="*/ 56 h 59"/>
                <a:gd name="T40" fmla="*/ 32 w 66"/>
                <a:gd name="T41" fmla="*/ 56 h 59"/>
                <a:gd name="T42" fmla="*/ 30 w 66"/>
                <a:gd name="T43" fmla="*/ 55 h 59"/>
                <a:gd name="T44" fmla="*/ 29 w 66"/>
                <a:gd name="T45" fmla="*/ 55 h 59"/>
                <a:gd name="T46" fmla="*/ 26 w 66"/>
                <a:gd name="T47" fmla="*/ 54 h 59"/>
                <a:gd name="T48" fmla="*/ 26 w 66"/>
                <a:gd name="T49" fmla="*/ 54 h 59"/>
                <a:gd name="T50" fmla="*/ 26 w 66"/>
                <a:gd name="T51" fmla="*/ 54 h 59"/>
                <a:gd name="T52" fmla="*/ 7 w 66"/>
                <a:gd name="T53" fmla="*/ 42 h 59"/>
                <a:gd name="T54" fmla="*/ 6 w 66"/>
                <a:gd name="T55" fmla="*/ 20 h 59"/>
                <a:gd name="T56" fmla="*/ 8 w 66"/>
                <a:gd name="T57" fmla="*/ 11 h 59"/>
                <a:gd name="T58" fmla="*/ 11 w 66"/>
                <a:gd name="T5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6" h="59">
                  <a:moveTo>
                    <a:pt x="11" y="0"/>
                  </a:moveTo>
                  <a:cubicBezTo>
                    <a:pt x="10" y="1"/>
                    <a:pt x="9" y="1"/>
                    <a:pt x="8" y="2"/>
                  </a:cubicBezTo>
                  <a:cubicBezTo>
                    <a:pt x="7" y="7"/>
                    <a:pt x="6" y="13"/>
                    <a:pt x="4" y="20"/>
                  </a:cubicBezTo>
                  <a:cubicBezTo>
                    <a:pt x="0" y="43"/>
                    <a:pt x="5" y="53"/>
                    <a:pt x="30" y="57"/>
                  </a:cubicBezTo>
                  <a:cubicBezTo>
                    <a:pt x="35" y="58"/>
                    <a:pt x="39" y="59"/>
                    <a:pt x="42" y="59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57" y="58"/>
                    <a:pt x="61" y="50"/>
                    <a:pt x="65" y="27"/>
                  </a:cubicBezTo>
                  <a:cubicBezTo>
                    <a:pt x="66" y="22"/>
                    <a:pt x="66" y="17"/>
                    <a:pt x="66" y="13"/>
                  </a:cubicBezTo>
                  <a:cubicBezTo>
                    <a:pt x="66" y="12"/>
                    <a:pt x="65" y="11"/>
                    <a:pt x="64" y="9"/>
                  </a:cubicBezTo>
                  <a:cubicBezTo>
                    <a:pt x="64" y="11"/>
                    <a:pt x="65" y="13"/>
                    <a:pt x="65" y="14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5" y="18"/>
                    <a:pt x="64" y="22"/>
                    <a:pt x="63" y="2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59" y="49"/>
                    <a:pt x="56" y="57"/>
                    <a:pt x="42" y="57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41" y="57"/>
                    <a:pt x="40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7" y="56"/>
                    <a:pt x="35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1" y="56"/>
                    <a:pt x="31" y="55"/>
                    <a:pt x="30" y="55"/>
                  </a:cubicBezTo>
                  <a:cubicBezTo>
                    <a:pt x="30" y="55"/>
                    <a:pt x="30" y="55"/>
                    <a:pt x="29" y="55"/>
                  </a:cubicBezTo>
                  <a:cubicBezTo>
                    <a:pt x="28" y="55"/>
                    <a:pt x="27" y="55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15" y="52"/>
                    <a:pt x="9" y="48"/>
                    <a:pt x="7" y="42"/>
                  </a:cubicBezTo>
                  <a:cubicBezTo>
                    <a:pt x="4" y="37"/>
                    <a:pt x="4" y="29"/>
                    <a:pt x="6" y="20"/>
                  </a:cubicBezTo>
                  <a:cubicBezTo>
                    <a:pt x="6" y="17"/>
                    <a:pt x="7" y="14"/>
                    <a:pt x="8" y="11"/>
                  </a:cubicBezTo>
                  <a:cubicBezTo>
                    <a:pt x="9" y="7"/>
                    <a:pt x="10" y="3"/>
                    <a:pt x="11" y="0"/>
                  </a:cubicBezTo>
                </a:path>
              </a:pathLst>
            </a:custGeom>
            <a:solidFill>
              <a:srgbClr val="B477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Freeform 78"/>
            <p:cNvSpPr>
              <a:spLocks noEditPoints="1"/>
            </p:cNvSpPr>
            <p:nvPr/>
          </p:nvSpPr>
          <p:spPr bwMode="auto">
            <a:xfrm>
              <a:off x="2192338" y="2555876"/>
              <a:ext cx="282575" cy="276225"/>
            </a:xfrm>
            <a:custGeom>
              <a:avLst/>
              <a:gdLst>
                <a:gd name="T0" fmla="*/ 32 w 58"/>
                <a:gd name="T1" fmla="*/ 57 h 57"/>
                <a:gd name="T2" fmla="*/ 32 w 58"/>
                <a:gd name="T3" fmla="*/ 57 h 57"/>
                <a:gd name="T4" fmla="*/ 35 w 58"/>
                <a:gd name="T5" fmla="*/ 57 h 57"/>
                <a:gd name="T6" fmla="*/ 35 w 58"/>
                <a:gd name="T7" fmla="*/ 57 h 57"/>
                <a:gd name="T8" fmla="*/ 32 w 58"/>
                <a:gd name="T9" fmla="*/ 57 h 57"/>
                <a:gd name="T10" fmla="*/ 25 w 58"/>
                <a:gd name="T11" fmla="*/ 56 h 57"/>
                <a:gd name="T12" fmla="*/ 32 w 58"/>
                <a:gd name="T13" fmla="*/ 57 h 57"/>
                <a:gd name="T14" fmla="*/ 32 w 58"/>
                <a:gd name="T15" fmla="*/ 57 h 57"/>
                <a:gd name="T16" fmla="*/ 25 w 58"/>
                <a:gd name="T17" fmla="*/ 56 h 57"/>
                <a:gd name="T18" fmla="*/ 25 w 58"/>
                <a:gd name="T19" fmla="*/ 56 h 57"/>
                <a:gd name="T20" fmla="*/ 25 w 58"/>
                <a:gd name="T21" fmla="*/ 56 h 57"/>
                <a:gd name="T22" fmla="*/ 25 w 58"/>
                <a:gd name="T23" fmla="*/ 56 h 57"/>
                <a:gd name="T24" fmla="*/ 25 w 58"/>
                <a:gd name="T25" fmla="*/ 56 h 57"/>
                <a:gd name="T26" fmla="*/ 25 w 58"/>
                <a:gd name="T27" fmla="*/ 56 h 57"/>
                <a:gd name="T28" fmla="*/ 25 w 58"/>
                <a:gd name="T29" fmla="*/ 56 h 57"/>
                <a:gd name="T30" fmla="*/ 19 w 58"/>
                <a:gd name="T31" fmla="*/ 54 h 57"/>
                <a:gd name="T32" fmla="*/ 19 w 58"/>
                <a:gd name="T33" fmla="*/ 54 h 57"/>
                <a:gd name="T34" fmla="*/ 19 w 58"/>
                <a:gd name="T35" fmla="*/ 54 h 57"/>
                <a:gd name="T36" fmla="*/ 0 w 58"/>
                <a:gd name="T37" fmla="*/ 42 h 57"/>
                <a:gd name="T38" fmla="*/ 19 w 58"/>
                <a:gd name="T39" fmla="*/ 54 h 57"/>
                <a:gd name="T40" fmla="*/ 18 w 58"/>
                <a:gd name="T41" fmla="*/ 54 h 57"/>
                <a:gd name="T42" fmla="*/ 0 w 58"/>
                <a:gd name="T43" fmla="*/ 42 h 57"/>
                <a:gd name="T44" fmla="*/ 57 w 58"/>
                <a:gd name="T45" fmla="*/ 9 h 57"/>
                <a:gd name="T46" fmla="*/ 56 w 58"/>
                <a:gd name="T47" fmla="*/ 27 h 57"/>
                <a:gd name="T48" fmla="*/ 56 w 58"/>
                <a:gd name="T49" fmla="*/ 27 h 57"/>
                <a:gd name="T50" fmla="*/ 56 w 58"/>
                <a:gd name="T51" fmla="*/ 27 h 57"/>
                <a:gd name="T52" fmla="*/ 58 w 58"/>
                <a:gd name="T53" fmla="*/ 15 h 57"/>
                <a:gd name="T54" fmla="*/ 58 w 58"/>
                <a:gd name="T55" fmla="*/ 14 h 57"/>
                <a:gd name="T56" fmla="*/ 57 w 58"/>
                <a:gd name="T57" fmla="*/ 9 h 57"/>
                <a:gd name="T58" fmla="*/ 57 w 58"/>
                <a:gd name="T59" fmla="*/ 9 h 57"/>
                <a:gd name="T60" fmla="*/ 4 w 58"/>
                <a:gd name="T61" fmla="*/ 0 h 57"/>
                <a:gd name="T62" fmla="*/ 4 w 58"/>
                <a:gd name="T63" fmla="*/ 0 h 57"/>
                <a:gd name="T64" fmla="*/ 4 w 58"/>
                <a:gd name="T65" fmla="*/ 0 h 57"/>
                <a:gd name="T66" fmla="*/ 1 w 58"/>
                <a:gd name="T67" fmla="*/ 11 h 57"/>
                <a:gd name="T68" fmla="*/ 4 w 58"/>
                <a:gd name="T6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8" h="57">
                  <a:moveTo>
                    <a:pt x="32" y="57"/>
                  </a:moveTo>
                  <a:cubicBezTo>
                    <a:pt x="32" y="57"/>
                    <a:pt x="32" y="57"/>
                    <a:pt x="32" y="57"/>
                  </a:cubicBezTo>
                  <a:cubicBezTo>
                    <a:pt x="33" y="57"/>
                    <a:pt x="34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4" y="57"/>
                    <a:pt x="33" y="57"/>
                    <a:pt x="32" y="57"/>
                  </a:cubicBezTo>
                  <a:moveTo>
                    <a:pt x="25" y="56"/>
                  </a:moveTo>
                  <a:cubicBezTo>
                    <a:pt x="28" y="56"/>
                    <a:pt x="30" y="56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0" y="56"/>
                    <a:pt x="28" y="56"/>
                    <a:pt x="25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56"/>
                    <a:pt x="25" y="56"/>
                    <a:pt x="25" y="56"/>
                  </a:cubicBezTo>
                  <a:moveTo>
                    <a:pt x="19" y="54"/>
                  </a:moveTo>
                  <a:cubicBezTo>
                    <a:pt x="19" y="54"/>
                    <a:pt x="19" y="54"/>
                    <a:pt x="19" y="54"/>
                  </a:cubicBezTo>
                  <a:cubicBezTo>
                    <a:pt x="19" y="54"/>
                    <a:pt x="19" y="54"/>
                    <a:pt x="19" y="54"/>
                  </a:cubicBezTo>
                  <a:moveTo>
                    <a:pt x="0" y="42"/>
                  </a:moveTo>
                  <a:cubicBezTo>
                    <a:pt x="2" y="48"/>
                    <a:pt x="8" y="52"/>
                    <a:pt x="19" y="54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8" y="52"/>
                    <a:pt x="2" y="48"/>
                    <a:pt x="0" y="42"/>
                  </a:cubicBezTo>
                  <a:moveTo>
                    <a:pt x="57" y="9"/>
                  </a:moveTo>
                  <a:cubicBezTo>
                    <a:pt x="58" y="14"/>
                    <a:pt x="58" y="20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7" y="22"/>
                    <a:pt x="58" y="18"/>
                    <a:pt x="58" y="15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13"/>
                    <a:pt x="57" y="11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3"/>
                    <a:pt x="2" y="7"/>
                    <a:pt x="1" y="11"/>
                  </a:cubicBezTo>
                  <a:cubicBezTo>
                    <a:pt x="2" y="7"/>
                    <a:pt x="3" y="3"/>
                    <a:pt x="4" y="0"/>
                  </a:cubicBezTo>
                </a:path>
              </a:pathLst>
            </a:custGeom>
            <a:solidFill>
              <a:srgbClr val="BD8B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Freeform 79"/>
            <p:cNvSpPr>
              <a:spLocks/>
            </p:cNvSpPr>
            <p:nvPr/>
          </p:nvSpPr>
          <p:spPr bwMode="auto">
            <a:xfrm>
              <a:off x="1870076" y="3154363"/>
              <a:ext cx="536575" cy="730250"/>
            </a:xfrm>
            <a:custGeom>
              <a:avLst/>
              <a:gdLst>
                <a:gd name="T0" fmla="*/ 45 w 110"/>
                <a:gd name="T1" fmla="*/ 0 h 150"/>
                <a:gd name="T2" fmla="*/ 39 w 110"/>
                <a:gd name="T3" fmla="*/ 14 h 150"/>
                <a:gd name="T4" fmla="*/ 10 w 110"/>
                <a:gd name="T5" fmla="*/ 113 h 150"/>
                <a:gd name="T6" fmla="*/ 0 w 110"/>
                <a:gd name="T7" fmla="*/ 139 h 150"/>
                <a:gd name="T8" fmla="*/ 0 w 110"/>
                <a:gd name="T9" fmla="*/ 139 h 150"/>
                <a:gd name="T10" fmla="*/ 8 w 110"/>
                <a:gd name="T11" fmla="*/ 150 h 150"/>
                <a:gd name="T12" fmla="*/ 20 w 110"/>
                <a:gd name="T13" fmla="*/ 144 h 150"/>
                <a:gd name="T14" fmla="*/ 55 w 110"/>
                <a:gd name="T15" fmla="*/ 108 h 150"/>
                <a:gd name="T16" fmla="*/ 69 w 110"/>
                <a:gd name="T17" fmla="*/ 111 h 150"/>
                <a:gd name="T18" fmla="*/ 94 w 110"/>
                <a:gd name="T19" fmla="*/ 118 h 150"/>
                <a:gd name="T20" fmla="*/ 101 w 110"/>
                <a:gd name="T21" fmla="*/ 101 h 150"/>
                <a:gd name="T22" fmla="*/ 108 w 110"/>
                <a:gd name="T23" fmla="*/ 17 h 150"/>
                <a:gd name="T24" fmla="*/ 110 w 110"/>
                <a:gd name="T25" fmla="*/ 11 h 150"/>
                <a:gd name="T26" fmla="*/ 110 w 110"/>
                <a:gd name="T27" fmla="*/ 11 h 150"/>
                <a:gd name="T28" fmla="*/ 106 w 110"/>
                <a:gd name="T29" fmla="*/ 8 h 150"/>
                <a:gd name="T30" fmla="*/ 74 w 110"/>
                <a:gd name="T31" fmla="*/ 12 h 150"/>
                <a:gd name="T32" fmla="*/ 45 w 110"/>
                <a:gd name="T3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150">
                  <a:moveTo>
                    <a:pt x="45" y="0"/>
                  </a:moveTo>
                  <a:cubicBezTo>
                    <a:pt x="42" y="0"/>
                    <a:pt x="40" y="3"/>
                    <a:pt x="39" y="14"/>
                  </a:cubicBezTo>
                  <a:cubicBezTo>
                    <a:pt x="36" y="45"/>
                    <a:pt x="30" y="79"/>
                    <a:pt x="10" y="113"/>
                  </a:cubicBezTo>
                  <a:cubicBezTo>
                    <a:pt x="3" y="124"/>
                    <a:pt x="0" y="133"/>
                    <a:pt x="0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46"/>
                    <a:pt x="3" y="150"/>
                    <a:pt x="8" y="150"/>
                  </a:cubicBezTo>
                  <a:cubicBezTo>
                    <a:pt x="11" y="150"/>
                    <a:pt x="16" y="148"/>
                    <a:pt x="20" y="144"/>
                  </a:cubicBezTo>
                  <a:cubicBezTo>
                    <a:pt x="32" y="131"/>
                    <a:pt x="35" y="108"/>
                    <a:pt x="55" y="108"/>
                  </a:cubicBezTo>
                  <a:cubicBezTo>
                    <a:pt x="58" y="108"/>
                    <a:pt x="63" y="109"/>
                    <a:pt x="69" y="111"/>
                  </a:cubicBezTo>
                  <a:cubicBezTo>
                    <a:pt x="81" y="116"/>
                    <a:pt x="89" y="118"/>
                    <a:pt x="94" y="118"/>
                  </a:cubicBezTo>
                  <a:cubicBezTo>
                    <a:pt x="103" y="118"/>
                    <a:pt x="104" y="112"/>
                    <a:pt x="101" y="101"/>
                  </a:cubicBezTo>
                  <a:cubicBezTo>
                    <a:pt x="97" y="83"/>
                    <a:pt x="100" y="35"/>
                    <a:pt x="108" y="17"/>
                  </a:cubicBezTo>
                  <a:cubicBezTo>
                    <a:pt x="110" y="14"/>
                    <a:pt x="110" y="13"/>
                    <a:pt x="110" y="11"/>
                  </a:cubicBezTo>
                  <a:cubicBezTo>
                    <a:pt x="110" y="11"/>
                    <a:pt x="110" y="11"/>
                    <a:pt x="110" y="11"/>
                  </a:cubicBezTo>
                  <a:cubicBezTo>
                    <a:pt x="110" y="9"/>
                    <a:pt x="109" y="8"/>
                    <a:pt x="106" y="8"/>
                  </a:cubicBezTo>
                  <a:cubicBezTo>
                    <a:pt x="99" y="8"/>
                    <a:pt x="87" y="12"/>
                    <a:pt x="74" y="12"/>
                  </a:cubicBezTo>
                  <a:cubicBezTo>
                    <a:pt x="61" y="12"/>
                    <a:pt x="51" y="0"/>
                    <a:pt x="45" y="0"/>
                  </a:cubicBezTo>
                </a:path>
              </a:pathLst>
            </a:custGeom>
            <a:solidFill>
              <a:srgbClr val="DBAB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Freeform 80"/>
            <p:cNvSpPr>
              <a:spLocks/>
            </p:cNvSpPr>
            <p:nvPr/>
          </p:nvSpPr>
          <p:spPr bwMode="auto">
            <a:xfrm>
              <a:off x="1874838" y="4546601"/>
              <a:ext cx="584200" cy="1465263"/>
            </a:xfrm>
            <a:custGeom>
              <a:avLst/>
              <a:gdLst>
                <a:gd name="T0" fmla="*/ 120 w 120"/>
                <a:gd name="T1" fmla="*/ 0 h 301"/>
                <a:gd name="T2" fmla="*/ 120 w 120"/>
                <a:gd name="T3" fmla="*/ 0 h 301"/>
                <a:gd name="T4" fmla="*/ 69 w 120"/>
                <a:gd name="T5" fmla="*/ 86 h 301"/>
                <a:gd name="T6" fmla="*/ 1 w 120"/>
                <a:gd name="T7" fmla="*/ 275 h 301"/>
                <a:gd name="T8" fmla="*/ 0 w 120"/>
                <a:gd name="T9" fmla="*/ 301 h 301"/>
                <a:gd name="T10" fmla="*/ 31 w 120"/>
                <a:gd name="T11" fmla="*/ 301 h 301"/>
                <a:gd name="T12" fmla="*/ 62 w 120"/>
                <a:gd name="T13" fmla="*/ 169 h 301"/>
                <a:gd name="T14" fmla="*/ 119 w 120"/>
                <a:gd name="T15" fmla="*/ 3 h 301"/>
                <a:gd name="T16" fmla="*/ 120 w 120"/>
                <a:gd name="T17" fmla="*/ 1 h 301"/>
                <a:gd name="T18" fmla="*/ 120 w 120"/>
                <a:gd name="T19" fmla="*/ 0 h 301"/>
                <a:gd name="T20" fmla="*/ 120 w 120"/>
                <a:gd name="T21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0" h="301">
                  <a:moveTo>
                    <a:pt x="120" y="0"/>
                  </a:moveTo>
                  <a:cubicBezTo>
                    <a:pt x="120" y="0"/>
                    <a:pt x="120" y="0"/>
                    <a:pt x="120" y="0"/>
                  </a:cubicBezTo>
                  <a:cubicBezTo>
                    <a:pt x="118" y="1"/>
                    <a:pt x="92" y="51"/>
                    <a:pt x="69" y="86"/>
                  </a:cubicBezTo>
                  <a:cubicBezTo>
                    <a:pt x="43" y="126"/>
                    <a:pt x="9" y="188"/>
                    <a:pt x="1" y="275"/>
                  </a:cubicBezTo>
                  <a:cubicBezTo>
                    <a:pt x="1" y="283"/>
                    <a:pt x="0" y="292"/>
                    <a:pt x="0" y="301"/>
                  </a:cubicBezTo>
                  <a:cubicBezTo>
                    <a:pt x="31" y="301"/>
                    <a:pt x="31" y="301"/>
                    <a:pt x="31" y="301"/>
                  </a:cubicBezTo>
                  <a:cubicBezTo>
                    <a:pt x="38" y="229"/>
                    <a:pt x="52" y="204"/>
                    <a:pt x="62" y="169"/>
                  </a:cubicBezTo>
                  <a:cubicBezTo>
                    <a:pt x="73" y="124"/>
                    <a:pt x="116" y="30"/>
                    <a:pt x="119" y="3"/>
                  </a:cubicBezTo>
                  <a:cubicBezTo>
                    <a:pt x="120" y="2"/>
                    <a:pt x="120" y="1"/>
                    <a:pt x="120" y="1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0" y="0"/>
                    <a:pt x="120" y="0"/>
                    <a:pt x="120" y="0"/>
                  </a:cubicBezTo>
                </a:path>
              </a:pathLst>
            </a:custGeom>
            <a:solidFill>
              <a:srgbClr val="E0B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" name="Freeform 81"/>
            <p:cNvSpPr>
              <a:spLocks/>
            </p:cNvSpPr>
            <p:nvPr/>
          </p:nvSpPr>
          <p:spPr bwMode="auto">
            <a:xfrm>
              <a:off x="2298701" y="2822576"/>
              <a:ext cx="14288" cy="4763"/>
            </a:xfrm>
            <a:custGeom>
              <a:avLst/>
              <a:gdLst>
                <a:gd name="T0" fmla="*/ 0 w 3"/>
                <a:gd name="T1" fmla="*/ 0 h 1"/>
                <a:gd name="T2" fmla="*/ 1 w 3"/>
                <a:gd name="T3" fmla="*/ 0 h 1"/>
                <a:gd name="T4" fmla="*/ 3 w 3"/>
                <a:gd name="T5" fmla="*/ 1 h 1"/>
                <a:gd name="T6" fmla="*/ 1 w 3"/>
                <a:gd name="T7" fmla="*/ 0 h 1"/>
                <a:gd name="T8" fmla="*/ 1 w 3"/>
                <a:gd name="T9" fmla="*/ 0 h 1"/>
                <a:gd name="T10" fmla="*/ 1 w 3"/>
                <a:gd name="T11" fmla="*/ 0 h 1"/>
                <a:gd name="T12" fmla="*/ 1 w 3"/>
                <a:gd name="T13" fmla="*/ 0 h 1"/>
                <a:gd name="T14" fmla="*/ 0 w 3"/>
                <a:gd name="T1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ubicBezTo>
                    <a:pt x="2" y="1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C697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Freeform 82"/>
            <p:cNvSpPr>
              <a:spLocks/>
            </p:cNvSpPr>
            <p:nvPr/>
          </p:nvSpPr>
          <p:spPr bwMode="auto">
            <a:xfrm>
              <a:off x="2347913" y="2501901"/>
              <a:ext cx="14288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3 w 3"/>
                <a:gd name="T4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solidFill>
              <a:srgbClr val="4F4E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Freeform 83"/>
            <p:cNvSpPr>
              <a:spLocks noEditPoints="1"/>
            </p:cNvSpPr>
            <p:nvPr/>
          </p:nvSpPr>
          <p:spPr bwMode="auto">
            <a:xfrm>
              <a:off x="2338388" y="2501901"/>
              <a:ext cx="9525" cy="0"/>
            </a:xfrm>
            <a:custGeom>
              <a:avLst/>
              <a:gdLst>
                <a:gd name="T0" fmla="*/ 1 w 2"/>
                <a:gd name="T1" fmla="*/ 2 w 2"/>
                <a:gd name="T2" fmla="*/ 2 w 2"/>
                <a:gd name="T3" fmla="*/ 1 w 2"/>
                <a:gd name="T4" fmla="*/ 0 w 2"/>
                <a:gd name="T5" fmla="*/ 1 w 2"/>
                <a:gd name="T6" fmla="*/ 0 w 2"/>
                <a:gd name="T7" fmla="*/ 0 w 2"/>
                <a:gd name="T8" fmla="*/ 0 w 2"/>
                <a:gd name="T9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</a:cxnLst>
              <a:rect l="0" t="0" r="r" b="b"/>
              <a:pathLst>
                <a:path w="2"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F4E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Freeform 84"/>
            <p:cNvSpPr>
              <a:spLocks/>
            </p:cNvSpPr>
            <p:nvPr/>
          </p:nvSpPr>
          <p:spPr bwMode="auto">
            <a:xfrm>
              <a:off x="2347913" y="2501901"/>
              <a:ext cx="14288" cy="0"/>
            </a:xfrm>
            <a:custGeom>
              <a:avLst/>
              <a:gdLst>
                <a:gd name="T0" fmla="*/ 0 w 3"/>
                <a:gd name="T1" fmla="*/ 3 w 3"/>
                <a:gd name="T2" fmla="*/ 0 w 3"/>
                <a:gd name="T3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67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Freeform 85"/>
            <p:cNvSpPr>
              <a:spLocks/>
            </p:cNvSpPr>
            <p:nvPr/>
          </p:nvSpPr>
          <p:spPr bwMode="auto">
            <a:xfrm>
              <a:off x="2362201" y="2501901"/>
              <a:ext cx="14288" cy="4763"/>
            </a:xfrm>
            <a:custGeom>
              <a:avLst/>
              <a:gdLst>
                <a:gd name="T0" fmla="*/ 0 w 3"/>
                <a:gd name="T1" fmla="*/ 0 h 1"/>
                <a:gd name="T2" fmla="*/ 0 w 3"/>
                <a:gd name="T3" fmla="*/ 0 h 1"/>
                <a:gd name="T4" fmla="*/ 3 w 3"/>
                <a:gd name="T5" fmla="*/ 1 h 1"/>
                <a:gd name="T6" fmla="*/ 3 w 3"/>
                <a:gd name="T7" fmla="*/ 1 h 1"/>
                <a:gd name="T8" fmla="*/ 0 w 3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</a:path>
              </a:pathLst>
            </a:custGeom>
            <a:solidFill>
              <a:srgbClr val="4F4E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Freeform 86"/>
            <p:cNvSpPr>
              <a:spLocks/>
            </p:cNvSpPr>
            <p:nvPr/>
          </p:nvSpPr>
          <p:spPr bwMode="auto">
            <a:xfrm>
              <a:off x="2362201" y="2501901"/>
              <a:ext cx="14288" cy="4763"/>
            </a:xfrm>
            <a:custGeom>
              <a:avLst/>
              <a:gdLst>
                <a:gd name="T0" fmla="*/ 0 w 3"/>
                <a:gd name="T1" fmla="*/ 0 h 1"/>
                <a:gd name="T2" fmla="*/ 3 w 3"/>
                <a:gd name="T3" fmla="*/ 1 h 1"/>
                <a:gd name="T4" fmla="*/ 3 w 3"/>
                <a:gd name="T5" fmla="*/ 1 h 1"/>
                <a:gd name="T6" fmla="*/ 0 w 3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1" y="0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</a:path>
              </a:pathLst>
            </a:custGeom>
            <a:solidFill>
              <a:srgbClr val="9694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" name="Freeform 87"/>
            <p:cNvSpPr>
              <a:spLocks/>
            </p:cNvSpPr>
            <p:nvPr/>
          </p:nvSpPr>
          <p:spPr bwMode="auto">
            <a:xfrm>
              <a:off x="2312988" y="28273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697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" name="Freeform 88"/>
            <p:cNvSpPr>
              <a:spLocks noEditPoints="1"/>
            </p:cNvSpPr>
            <p:nvPr/>
          </p:nvSpPr>
          <p:spPr bwMode="auto">
            <a:xfrm>
              <a:off x="2312988" y="28273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DA7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" name="Freeform 89"/>
            <p:cNvSpPr>
              <a:spLocks/>
            </p:cNvSpPr>
            <p:nvPr/>
          </p:nvSpPr>
          <p:spPr bwMode="auto">
            <a:xfrm>
              <a:off x="2303463" y="2822576"/>
              <a:ext cx="9525" cy="4763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1 h 1"/>
                <a:gd name="T4" fmla="*/ 2 w 2"/>
                <a:gd name="T5" fmla="*/ 1 h 1"/>
                <a:gd name="T6" fmla="*/ 1 w 2"/>
                <a:gd name="T7" fmla="*/ 0 h 1"/>
                <a:gd name="T8" fmla="*/ 0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1" y="0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4B1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" name="Freeform 90"/>
            <p:cNvSpPr>
              <a:spLocks noEditPoints="1"/>
            </p:cNvSpPr>
            <p:nvPr/>
          </p:nvSpPr>
          <p:spPr bwMode="auto">
            <a:xfrm>
              <a:off x="2303463" y="2822576"/>
              <a:ext cx="4763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  <a:gd name="T4" fmla="*/ 0 w 1"/>
                <a:gd name="T5" fmla="*/ 0 w 1"/>
                <a:gd name="T6" fmla="*/ 0 w 1"/>
                <a:gd name="T7" fmla="*/ 0 w 1"/>
                <a:gd name="T8" fmla="*/ 0 w 1"/>
                <a:gd name="T9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9BD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" name="Freeform 91"/>
            <p:cNvSpPr>
              <a:spLocks/>
            </p:cNvSpPr>
            <p:nvPr/>
          </p:nvSpPr>
          <p:spPr bwMode="auto">
            <a:xfrm>
              <a:off x="2312988" y="28273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DA7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" name="Freeform 92"/>
            <p:cNvSpPr>
              <a:spLocks/>
            </p:cNvSpPr>
            <p:nvPr/>
          </p:nvSpPr>
          <p:spPr bwMode="auto">
            <a:xfrm>
              <a:off x="2328863" y="2827338"/>
              <a:ext cx="476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EDDA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" name="Freeform 93"/>
            <p:cNvSpPr>
              <a:spLocks noEditPoints="1"/>
            </p:cNvSpPr>
            <p:nvPr/>
          </p:nvSpPr>
          <p:spPr bwMode="auto">
            <a:xfrm>
              <a:off x="2338388" y="2497138"/>
              <a:ext cx="0" cy="4763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  <a:gd name="T4" fmla="*/ 0 h 1"/>
                <a:gd name="T5" fmla="*/ 0 h 1"/>
                <a:gd name="T6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F4E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Freeform 94"/>
            <p:cNvSpPr>
              <a:spLocks/>
            </p:cNvSpPr>
            <p:nvPr/>
          </p:nvSpPr>
          <p:spPr bwMode="auto">
            <a:xfrm>
              <a:off x="2303463" y="2497138"/>
              <a:ext cx="34925" cy="19050"/>
            </a:xfrm>
            <a:custGeom>
              <a:avLst/>
              <a:gdLst>
                <a:gd name="T0" fmla="*/ 1 w 7"/>
                <a:gd name="T1" fmla="*/ 0 h 4"/>
                <a:gd name="T2" fmla="*/ 0 w 7"/>
                <a:gd name="T3" fmla="*/ 0 h 4"/>
                <a:gd name="T4" fmla="*/ 0 w 7"/>
                <a:gd name="T5" fmla="*/ 4 h 4"/>
                <a:gd name="T6" fmla="*/ 3 w 7"/>
                <a:gd name="T7" fmla="*/ 4 h 4"/>
                <a:gd name="T8" fmla="*/ 3 w 7"/>
                <a:gd name="T9" fmla="*/ 0 h 4"/>
                <a:gd name="T10" fmla="*/ 6 w 7"/>
                <a:gd name="T11" fmla="*/ 0 h 4"/>
                <a:gd name="T12" fmla="*/ 6 w 7"/>
                <a:gd name="T13" fmla="*/ 0 h 4"/>
                <a:gd name="T14" fmla="*/ 7 w 7"/>
                <a:gd name="T15" fmla="*/ 0 h 4"/>
                <a:gd name="T16" fmla="*/ 7 w 7"/>
                <a:gd name="T17" fmla="*/ 0 h 4"/>
                <a:gd name="T18" fmla="*/ 7 w 7"/>
                <a:gd name="T19" fmla="*/ 0 h 4"/>
                <a:gd name="T20" fmla="*/ 7 w 7"/>
                <a:gd name="T21" fmla="*/ 0 h 4"/>
                <a:gd name="T22" fmla="*/ 7 w 7"/>
                <a:gd name="T23" fmla="*/ 0 h 4"/>
                <a:gd name="T24" fmla="*/ 1 w 7"/>
                <a:gd name="T2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1" y="0"/>
                  </a:cubicBezTo>
                </a:path>
              </a:pathLst>
            </a:custGeom>
            <a:solidFill>
              <a:srgbClr val="9694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" name="Freeform 95"/>
            <p:cNvSpPr>
              <a:spLocks/>
            </p:cNvSpPr>
            <p:nvPr/>
          </p:nvSpPr>
          <p:spPr bwMode="auto">
            <a:xfrm>
              <a:off x="2265363" y="2516188"/>
              <a:ext cx="52388" cy="306388"/>
            </a:xfrm>
            <a:custGeom>
              <a:avLst/>
              <a:gdLst>
                <a:gd name="T0" fmla="*/ 11 w 11"/>
                <a:gd name="T1" fmla="*/ 0 h 63"/>
                <a:gd name="T2" fmla="*/ 8 w 11"/>
                <a:gd name="T3" fmla="*/ 0 h 63"/>
                <a:gd name="T4" fmla="*/ 0 w 11"/>
                <a:gd name="T5" fmla="*/ 61 h 63"/>
                <a:gd name="T6" fmla="*/ 3 w 11"/>
                <a:gd name="T7" fmla="*/ 62 h 63"/>
                <a:gd name="T8" fmla="*/ 6 w 11"/>
                <a:gd name="T9" fmla="*/ 63 h 63"/>
                <a:gd name="T10" fmla="*/ 3 w 11"/>
                <a:gd name="T11" fmla="*/ 62 h 63"/>
                <a:gd name="T12" fmla="*/ 11 w 11"/>
                <a:gd name="T1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3">
                  <a:moveTo>
                    <a:pt x="11" y="0"/>
                  </a:moveTo>
                  <a:cubicBezTo>
                    <a:pt x="10" y="0"/>
                    <a:pt x="9" y="0"/>
                    <a:pt x="8" y="0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1" y="62"/>
                    <a:pt x="2" y="62"/>
                    <a:pt x="3" y="62"/>
                  </a:cubicBezTo>
                  <a:cubicBezTo>
                    <a:pt x="4" y="62"/>
                    <a:pt x="5" y="63"/>
                    <a:pt x="6" y="63"/>
                  </a:cubicBezTo>
                  <a:cubicBezTo>
                    <a:pt x="5" y="63"/>
                    <a:pt x="4" y="62"/>
                    <a:pt x="3" y="62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solidFill>
              <a:srgbClr val="EDDA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" name="Freeform 96"/>
            <p:cNvSpPr>
              <a:spLocks noEditPoints="1"/>
            </p:cNvSpPr>
            <p:nvPr/>
          </p:nvSpPr>
          <p:spPr bwMode="auto">
            <a:xfrm>
              <a:off x="2284413" y="2817813"/>
              <a:ext cx="14288" cy="4763"/>
            </a:xfrm>
            <a:custGeom>
              <a:avLst/>
              <a:gdLst>
                <a:gd name="T0" fmla="*/ 0 w 3"/>
                <a:gd name="T1" fmla="*/ 0 h 1"/>
                <a:gd name="T2" fmla="*/ 3 w 3"/>
                <a:gd name="T3" fmla="*/ 1 h 1"/>
                <a:gd name="T4" fmla="*/ 3 w 3"/>
                <a:gd name="T5" fmla="*/ 1 h 1"/>
                <a:gd name="T6" fmla="*/ 3 w 3"/>
                <a:gd name="T7" fmla="*/ 1 h 1"/>
                <a:gd name="T8" fmla="*/ 0 w 3"/>
                <a:gd name="T9" fmla="*/ 0 h 1"/>
                <a:gd name="T10" fmla="*/ 0 w 3"/>
                <a:gd name="T11" fmla="*/ 0 h 1"/>
                <a:gd name="T12" fmla="*/ 0 w 3"/>
                <a:gd name="T13" fmla="*/ 0 h 1"/>
                <a:gd name="T14" fmla="*/ 0 w 3"/>
                <a:gd name="T1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1" y="1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1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697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" name="Freeform 97"/>
            <p:cNvSpPr>
              <a:spLocks/>
            </p:cNvSpPr>
            <p:nvPr/>
          </p:nvSpPr>
          <p:spPr bwMode="auto">
            <a:xfrm>
              <a:off x="2279651" y="2817813"/>
              <a:ext cx="19050" cy="4763"/>
            </a:xfrm>
            <a:custGeom>
              <a:avLst/>
              <a:gdLst>
                <a:gd name="T0" fmla="*/ 0 w 4"/>
                <a:gd name="T1" fmla="*/ 0 h 1"/>
                <a:gd name="T2" fmla="*/ 1 w 4"/>
                <a:gd name="T3" fmla="*/ 0 h 1"/>
                <a:gd name="T4" fmla="*/ 1 w 4"/>
                <a:gd name="T5" fmla="*/ 0 h 1"/>
                <a:gd name="T6" fmla="*/ 1 w 4"/>
                <a:gd name="T7" fmla="*/ 0 h 1"/>
                <a:gd name="T8" fmla="*/ 4 w 4"/>
                <a:gd name="T9" fmla="*/ 1 h 1"/>
                <a:gd name="T10" fmla="*/ 3 w 4"/>
                <a:gd name="T11" fmla="*/ 1 h 1"/>
                <a:gd name="T12" fmla="*/ 0 w 4"/>
                <a:gd name="T1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</a:path>
              </a:pathLst>
            </a:custGeom>
            <a:solidFill>
              <a:srgbClr val="CDA7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0" name="Freeform 98"/>
            <p:cNvSpPr>
              <a:spLocks/>
            </p:cNvSpPr>
            <p:nvPr/>
          </p:nvSpPr>
          <p:spPr bwMode="auto">
            <a:xfrm>
              <a:off x="2371726" y="2506663"/>
              <a:ext cx="19050" cy="19050"/>
            </a:xfrm>
            <a:custGeom>
              <a:avLst/>
              <a:gdLst>
                <a:gd name="T0" fmla="*/ 1 w 4"/>
                <a:gd name="T1" fmla="*/ 0 h 4"/>
                <a:gd name="T2" fmla="*/ 1 w 4"/>
                <a:gd name="T3" fmla="*/ 0 h 4"/>
                <a:gd name="T4" fmla="*/ 0 w 4"/>
                <a:gd name="T5" fmla="*/ 3 h 4"/>
                <a:gd name="T6" fmla="*/ 2 w 4"/>
                <a:gd name="T7" fmla="*/ 3 h 4"/>
                <a:gd name="T8" fmla="*/ 3 w 4"/>
                <a:gd name="T9" fmla="*/ 4 h 4"/>
                <a:gd name="T10" fmla="*/ 4 w 4"/>
                <a:gd name="T11" fmla="*/ 1 h 4"/>
                <a:gd name="T12" fmla="*/ 1 w 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3" y="3"/>
                    <a:pt x="3" y="4"/>
                    <a:pt x="3" y="4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9694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1" name="Freeform 99"/>
            <p:cNvSpPr>
              <a:spLocks/>
            </p:cNvSpPr>
            <p:nvPr/>
          </p:nvSpPr>
          <p:spPr bwMode="auto">
            <a:xfrm>
              <a:off x="2381251" y="2520951"/>
              <a:ext cx="4763" cy="4763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1 w 1"/>
                <a:gd name="T5" fmla="*/ 1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</a:path>
              </a:pathLst>
            </a:custGeom>
            <a:solidFill>
              <a:srgbClr val="949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2" name="Freeform 100"/>
            <p:cNvSpPr>
              <a:spLocks/>
            </p:cNvSpPr>
            <p:nvPr/>
          </p:nvSpPr>
          <p:spPr bwMode="auto">
            <a:xfrm>
              <a:off x="2333626" y="2520951"/>
              <a:ext cx="52388" cy="311150"/>
            </a:xfrm>
            <a:custGeom>
              <a:avLst/>
              <a:gdLst>
                <a:gd name="T0" fmla="*/ 8 w 11"/>
                <a:gd name="T1" fmla="*/ 0 h 64"/>
                <a:gd name="T2" fmla="*/ 0 w 11"/>
                <a:gd name="T3" fmla="*/ 63 h 64"/>
                <a:gd name="T4" fmla="*/ 3 w 11"/>
                <a:gd name="T5" fmla="*/ 64 h 64"/>
                <a:gd name="T6" fmla="*/ 3 w 11"/>
                <a:gd name="T7" fmla="*/ 64 h 64"/>
                <a:gd name="T8" fmla="*/ 11 w 11"/>
                <a:gd name="T9" fmla="*/ 1 h 64"/>
                <a:gd name="T10" fmla="*/ 10 w 11"/>
                <a:gd name="T11" fmla="*/ 0 h 64"/>
                <a:gd name="T12" fmla="*/ 8 w 11"/>
                <a:gd name="T13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4">
                  <a:moveTo>
                    <a:pt x="8" y="0"/>
                  </a:moveTo>
                  <a:cubicBezTo>
                    <a:pt x="0" y="63"/>
                    <a:pt x="0" y="63"/>
                    <a:pt x="0" y="63"/>
                  </a:cubicBezTo>
                  <a:cubicBezTo>
                    <a:pt x="1" y="63"/>
                    <a:pt x="2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0" y="0"/>
                  </a:cubicBezTo>
                  <a:cubicBezTo>
                    <a:pt x="10" y="0"/>
                    <a:pt x="9" y="0"/>
                    <a:pt x="8" y="0"/>
                  </a:cubicBezTo>
                </a:path>
              </a:pathLst>
            </a:custGeom>
            <a:solidFill>
              <a:srgbClr val="EDDA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3" name="Freeform 101"/>
            <p:cNvSpPr>
              <a:spLocks/>
            </p:cNvSpPr>
            <p:nvPr/>
          </p:nvSpPr>
          <p:spPr bwMode="auto">
            <a:xfrm>
              <a:off x="2347913" y="283210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697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" name="Oval 102"/>
            <p:cNvSpPr>
              <a:spLocks noChangeArrowheads="1"/>
            </p:cNvSpPr>
            <p:nvPr/>
          </p:nvSpPr>
          <p:spPr bwMode="auto">
            <a:xfrm>
              <a:off x="2347913" y="2832101"/>
              <a:ext cx="1588" cy="1588"/>
            </a:xfrm>
            <a:prstGeom prst="ellipse">
              <a:avLst/>
            </a:prstGeom>
            <a:solidFill>
              <a:srgbClr val="CDA7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5" name="Freeform 103"/>
            <p:cNvSpPr>
              <a:spLocks/>
            </p:cNvSpPr>
            <p:nvPr/>
          </p:nvSpPr>
          <p:spPr bwMode="auto">
            <a:xfrm>
              <a:off x="2333626" y="2497138"/>
              <a:ext cx="4763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AFAC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6" name="Freeform 104"/>
            <p:cNvSpPr>
              <a:spLocks/>
            </p:cNvSpPr>
            <p:nvPr/>
          </p:nvSpPr>
          <p:spPr bwMode="auto">
            <a:xfrm>
              <a:off x="2298701" y="2822576"/>
              <a:ext cx="4763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D4B1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7" name="Freeform 105"/>
            <p:cNvSpPr>
              <a:spLocks noEditPoints="1"/>
            </p:cNvSpPr>
            <p:nvPr/>
          </p:nvSpPr>
          <p:spPr bwMode="auto">
            <a:xfrm>
              <a:off x="2338388" y="2501901"/>
              <a:ext cx="23813" cy="0"/>
            </a:xfrm>
            <a:custGeom>
              <a:avLst/>
              <a:gdLst>
                <a:gd name="T0" fmla="*/ 5 w 5"/>
                <a:gd name="T1" fmla="*/ 5 w 5"/>
                <a:gd name="T2" fmla="*/ 5 w 5"/>
                <a:gd name="T3" fmla="*/ 5 w 5"/>
                <a:gd name="T4" fmla="*/ 5 w 5"/>
                <a:gd name="T5" fmla="*/ 5 w 5"/>
                <a:gd name="T6" fmla="*/ 1 w 5"/>
                <a:gd name="T7" fmla="*/ 1 w 5"/>
                <a:gd name="T8" fmla="*/ 1 w 5"/>
                <a:gd name="T9" fmla="*/ 0 w 5"/>
                <a:gd name="T10" fmla="*/ 0 w 5"/>
                <a:gd name="T11" fmla="*/ 0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</a:cxnLst>
              <a:rect l="0" t="0" r="r" b="b"/>
              <a:pathLst>
                <a:path w="5"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F4E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8" name="Freeform 106"/>
            <p:cNvSpPr>
              <a:spLocks/>
            </p:cNvSpPr>
            <p:nvPr/>
          </p:nvSpPr>
          <p:spPr bwMode="auto">
            <a:xfrm>
              <a:off x="2362201" y="250190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67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9" name="Freeform 107"/>
            <p:cNvSpPr>
              <a:spLocks noEditPoints="1"/>
            </p:cNvSpPr>
            <p:nvPr/>
          </p:nvSpPr>
          <p:spPr bwMode="auto">
            <a:xfrm>
              <a:off x="2312988" y="2827338"/>
              <a:ext cx="15875" cy="0"/>
            </a:xfrm>
            <a:custGeom>
              <a:avLst/>
              <a:gdLst>
                <a:gd name="T0" fmla="*/ 0 w 3"/>
                <a:gd name="T1" fmla="*/ 0 w 3"/>
                <a:gd name="T2" fmla="*/ 0 w 3"/>
                <a:gd name="T3" fmla="*/ 0 w 3"/>
                <a:gd name="T4" fmla="*/ 3 w 3"/>
                <a:gd name="T5" fmla="*/ 0 w 3"/>
                <a:gd name="T6" fmla="*/ 0 w 3"/>
                <a:gd name="T7" fmla="*/ 0 w 3"/>
                <a:gd name="T8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DDA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0" name="Freeform 108"/>
            <p:cNvSpPr>
              <a:spLocks noEditPoints="1"/>
            </p:cNvSpPr>
            <p:nvPr/>
          </p:nvSpPr>
          <p:spPr bwMode="auto">
            <a:xfrm>
              <a:off x="2312988" y="28273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DA7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1" name="Freeform 109"/>
            <p:cNvSpPr>
              <a:spLocks/>
            </p:cNvSpPr>
            <p:nvPr/>
          </p:nvSpPr>
          <p:spPr bwMode="auto">
            <a:xfrm>
              <a:off x="2317751" y="2497138"/>
              <a:ext cx="15875" cy="19050"/>
            </a:xfrm>
            <a:custGeom>
              <a:avLst/>
              <a:gdLst>
                <a:gd name="T0" fmla="*/ 0 w 3"/>
                <a:gd name="T1" fmla="*/ 0 h 4"/>
                <a:gd name="T2" fmla="*/ 0 w 3"/>
                <a:gd name="T3" fmla="*/ 4 h 4"/>
                <a:gd name="T4" fmla="*/ 1 w 3"/>
                <a:gd name="T5" fmla="*/ 4 h 4"/>
                <a:gd name="T6" fmla="*/ 3 w 3"/>
                <a:gd name="T7" fmla="*/ 4 h 4"/>
                <a:gd name="T8" fmla="*/ 3 w 3"/>
                <a:gd name="T9" fmla="*/ 0 h 4"/>
                <a:gd name="T10" fmla="*/ 0 w 3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2" y="4"/>
                    <a:pt x="2" y="4"/>
                    <a:pt x="3" y="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solidFill>
              <a:srgbClr val="AFAC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2" name="Freeform 110"/>
            <p:cNvSpPr>
              <a:spLocks/>
            </p:cNvSpPr>
            <p:nvPr/>
          </p:nvSpPr>
          <p:spPr bwMode="auto">
            <a:xfrm>
              <a:off x="2279651" y="2516188"/>
              <a:ext cx="53975" cy="306388"/>
            </a:xfrm>
            <a:custGeom>
              <a:avLst/>
              <a:gdLst>
                <a:gd name="T0" fmla="*/ 9 w 11"/>
                <a:gd name="T1" fmla="*/ 0 h 63"/>
                <a:gd name="T2" fmla="*/ 8 w 11"/>
                <a:gd name="T3" fmla="*/ 0 h 63"/>
                <a:gd name="T4" fmla="*/ 0 w 11"/>
                <a:gd name="T5" fmla="*/ 62 h 63"/>
                <a:gd name="T6" fmla="*/ 3 w 11"/>
                <a:gd name="T7" fmla="*/ 63 h 63"/>
                <a:gd name="T8" fmla="*/ 4 w 11"/>
                <a:gd name="T9" fmla="*/ 63 h 63"/>
                <a:gd name="T10" fmla="*/ 3 w 11"/>
                <a:gd name="T11" fmla="*/ 63 h 63"/>
                <a:gd name="T12" fmla="*/ 3 w 11"/>
                <a:gd name="T13" fmla="*/ 63 h 63"/>
                <a:gd name="T14" fmla="*/ 11 w 11"/>
                <a:gd name="T15" fmla="*/ 0 h 63"/>
                <a:gd name="T16" fmla="*/ 9 w 11"/>
                <a:gd name="T17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63">
                  <a:moveTo>
                    <a:pt x="9" y="0"/>
                  </a:moveTo>
                  <a:cubicBezTo>
                    <a:pt x="9" y="0"/>
                    <a:pt x="8" y="0"/>
                    <a:pt x="8" y="0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1" y="62"/>
                    <a:pt x="2" y="63"/>
                    <a:pt x="3" y="63"/>
                  </a:cubicBezTo>
                  <a:cubicBezTo>
                    <a:pt x="3" y="63"/>
                    <a:pt x="3" y="63"/>
                    <a:pt x="4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9" y="0"/>
                  </a:cubicBezTo>
                </a:path>
              </a:pathLst>
            </a:custGeom>
            <a:solidFill>
              <a:srgbClr val="F1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3" name="Freeform 111"/>
            <p:cNvSpPr>
              <a:spLocks/>
            </p:cNvSpPr>
            <p:nvPr/>
          </p:nvSpPr>
          <p:spPr bwMode="auto">
            <a:xfrm>
              <a:off x="2298701" y="28225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4B1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4" name="Oval 112"/>
            <p:cNvSpPr>
              <a:spLocks noChangeArrowheads="1"/>
            </p:cNvSpPr>
            <p:nvPr/>
          </p:nvSpPr>
          <p:spPr bwMode="auto">
            <a:xfrm>
              <a:off x="2293938" y="2822576"/>
              <a:ext cx="4763" cy="1588"/>
            </a:xfrm>
            <a:prstGeom prst="ellipse">
              <a:avLst/>
            </a:prstGeom>
            <a:solidFill>
              <a:srgbClr val="D9BD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5" name="Freeform 113"/>
            <p:cNvSpPr>
              <a:spLocks/>
            </p:cNvSpPr>
            <p:nvPr/>
          </p:nvSpPr>
          <p:spPr bwMode="auto">
            <a:xfrm>
              <a:off x="2338388" y="2497138"/>
              <a:ext cx="9525" cy="4763"/>
            </a:xfrm>
            <a:custGeom>
              <a:avLst/>
              <a:gdLst>
                <a:gd name="T0" fmla="*/ 0 w 2"/>
                <a:gd name="T1" fmla="*/ 0 h 1"/>
                <a:gd name="T2" fmla="*/ 1 w 2"/>
                <a:gd name="T3" fmla="*/ 1 h 1"/>
                <a:gd name="T4" fmla="*/ 2 w 2"/>
                <a:gd name="T5" fmla="*/ 1 h 1"/>
                <a:gd name="T6" fmla="*/ 1 w 2"/>
                <a:gd name="T7" fmla="*/ 1 h 1"/>
                <a:gd name="T8" fmla="*/ 1 w 2"/>
                <a:gd name="T9" fmla="*/ 1 h 1"/>
                <a:gd name="T10" fmla="*/ 0 w 2"/>
                <a:gd name="T11" fmla="*/ 1 h 1"/>
                <a:gd name="T12" fmla="*/ 0 w 2"/>
                <a:gd name="T13" fmla="*/ 1 h 1"/>
                <a:gd name="T14" fmla="*/ 0 w 2"/>
                <a:gd name="T15" fmla="*/ 1 h 1"/>
                <a:gd name="T16" fmla="*/ 0 w 2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solidFill>
              <a:srgbClr val="767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6" name="Freeform 114"/>
            <p:cNvSpPr>
              <a:spLocks/>
            </p:cNvSpPr>
            <p:nvPr/>
          </p:nvSpPr>
          <p:spPr bwMode="auto">
            <a:xfrm>
              <a:off x="2338388" y="2497138"/>
              <a:ext cx="4763" cy="4763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AFAC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7" name="Freeform 115"/>
            <p:cNvSpPr>
              <a:spLocks/>
            </p:cNvSpPr>
            <p:nvPr/>
          </p:nvSpPr>
          <p:spPr bwMode="auto">
            <a:xfrm>
              <a:off x="2362201" y="250190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67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8" name="Freeform 116"/>
            <p:cNvSpPr>
              <a:spLocks/>
            </p:cNvSpPr>
            <p:nvPr/>
          </p:nvSpPr>
          <p:spPr bwMode="auto">
            <a:xfrm>
              <a:off x="2357438" y="2501901"/>
              <a:ext cx="19050" cy="19050"/>
            </a:xfrm>
            <a:custGeom>
              <a:avLst/>
              <a:gdLst>
                <a:gd name="T0" fmla="*/ 1 w 4"/>
                <a:gd name="T1" fmla="*/ 0 h 4"/>
                <a:gd name="T2" fmla="*/ 0 w 4"/>
                <a:gd name="T3" fmla="*/ 3 h 4"/>
                <a:gd name="T4" fmla="*/ 1 w 4"/>
                <a:gd name="T5" fmla="*/ 3 h 4"/>
                <a:gd name="T6" fmla="*/ 3 w 4"/>
                <a:gd name="T7" fmla="*/ 4 h 4"/>
                <a:gd name="T8" fmla="*/ 4 w 4"/>
                <a:gd name="T9" fmla="*/ 1 h 4"/>
                <a:gd name="T10" fmla="*/ 4 w 4"/>
                <a:gd name="T11" fmla="*/ 1 h 4"/>
                <a:gd name="T12" fmla="*/ 1 w 4"/>
                <a:gd name="T13" fmla="*/ 0 h 4"/>
                <a:gd name="T14" fmla="*/ 1 w 4"/>
                <a:gd name="T15" fmla="*/ 0 h 4"/>
                <a:gd name="T16" fmla="*/ 1 w 4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4">
                  <a:moveTo>
                    <a:pt x="1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3" y="4"/>
                    <a:pt x="3" y="4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AFAC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9" name="Freeform 117"/>
            <p:cNvSpPr>
              <a:spLocks/>
            </p:cNvSpPr>
            <p:nvPr/>
          </p:nvSpPr>
          <p:spPr bwMode="auto">
            <a:xfrm>
              <a:off x="2312988" y="2516188"/>
              <a:ext cx="58738" cy="311150"/>
            </a:xfrm>
            <a:custGeom>
              <a:avLst/>
              <a:gdLst>
                <a:gd name="T0" fmla="*/ 9 w 12"/>
                <a:gd name="T1" fmla="*/ 0 h 64"/>
                <a:gd name="T2" fmla="*/ 1 w 12"/>
                <a:gd name="T3" fmla="*/ 64 h 64"/>
                <a:gd name="T4" fmla="*/ 0 w 12"/>
                <a:gd name="T5" fmla="*/ 64 h 64"/>
                <a:gd name="T6" fmla="*/ 0 w 12"/>
                <a:gd name="T7" fmla="*/ 64 h 64"/>
                <a:gd name="T8" fmla="*/ 0 w 12"/>
                <a:gd name="T9" fmla="*/ 64 h 64"/>
                <a:gd name="T10" fmla="*/ 0 w 12"/>
                <a:gd name="T11" fmla="*/ 64 h 64"/>
                <a:gd name="T12" fmla="*/ 3 w 12"/>
                <a:gd name="T13" fmla="*/ 64 h 64"/>
                <a:gd name="T14" fmla="*/ 4 w 12"/>
                <a:gd name="T15" fmla="*/ 64 h 64"/>
                <a:gd name="T16" fmla="*/ 12 w 12"/>
                <a:gd name="T17" fmla="*/ 1 h 64"/>
                <a:gd name="T18" fmla="*/ 10 w 12"/>
                <a:gd name="T19" fmla="*/ 0 h 64"/>
                <a:gd name="T20" fmla="*/ 9 w 12"/>
                <a:gd name="T21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64">
                  <a:moveTo>
                    <a:pt x="9" y="0"/>
                  </a:moveTo>
                  <a:cubicBezTo>
                    <a:pt x="1" y="64"/>
                    <a:pt x="1" y="64"/>
                    <a:pt x="1" y="64"/>
                  </a:cubicBezTo>
                  <a:cubicBezTo>
                    <a:pt x="1" y="64"/>
                    <a:pt x="0" y="64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1" y="64"/>
                    <a:pt x="2" y="64"/>
                    <a:pt x="3" y="64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1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</a:path>
              </a:pathLst>
            </a:custGeom>
            <a:solidFill>
              <a:srgbClr val="F1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0" name="Freeform 118"/>
            <p:cNvSpPr>
              <a:spLocks noEditPoints="1"/>
            </p:cNvSpPr>
            <p:nvPr/>
          </p:nvSpPr>
          <p:spPr bwMode="auto">
            <a:xfrm>
              <a:off x="2312988" y="28273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4B1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1" name="Freeform 119"/>
            <p:cNvSpPr>
              <a:spLocks noEditPoints="1"/>
            </p:cNvSpPr>
            <p:nvPr/>
          </p:nvSpPr>
          <p:spPr bwMode="auto">
            <a:xfrm>
              <a:off x="2312988" y="28273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9BD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2" name="Freeform 120"/>
            <p:cNvSpPr>
              <a:spLocks/>
            </p:cNvSpPr>
            <p:nvPr/>
          </p:nvSpPr>
          <p:spPr bwMode="auto">
            <a:xfrm>
              <a:off x="2343151" y="2501901"/>
              <a:ext cx="19050" cy="0"/>
            </a:xfrm>
            <a:custGeom>
              <a:avLst/>
              <a:gdLst>
                <a:gd name="T0" fmla="*/ 0 w 4"/>
                <a:gd name="T1" fmla="*/ 4 w 4"/>
                <a:gd name="T2" fmla="*/ 4 w 4"/>
                <a:gd name="T3" fmla="*/ 4 w 4"/>
                <a:gd name="T4" fmla="*/ 1 w 4"/>
                <a:gd name="T5" fmla="*/ 0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4">
                  <a:moveTo>
                    <a:pt x="0" y="0"/>
                  </a:moveTo>
                  <a:cubicBezTo>
                    <a:pt x="1" y="0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9693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121"/>
            <p:cNvSpPr>
              <a:spLocks/>
            </p:cNvSpPr>
            <p:nvPr/>
          </p:nvSpPr>
          <p:spPr bwMode="auto">
            <a:xfrm>
              <a:off x="2333626" y="2497138"/>
              <a:ext cx="28575" cy="19050"/>
            </a:xfrm>
            <a:custGeom>
              <a:avLst/>
              <a:gdLst>
                <a:gd name="T0" fmla="*/ 0 w 6"/>
                <a:gd name="T1" fmla="*/ 0 h 4"/>
                <a:gd name="T2" fmla="*/ 0 w 6"/>
                <a:gd name="T3" fmla="*/ 4 h 4"/>
                <a:gd name="T4" fmla="*/ 5 w 6"/>
                <a:gd name="T5" fmla="*/ 4 h 4"/>
                <a:gd name="T6" fmla="*/ 6 w 6"/>
                <a:gd name="T7" fmla="*/ 1 h 4"/>
                <a:gd name="T8" fmla="*/ 2 w 6"/>
                <a:gd name="T9" fmla="*/ 1 h 4"/>
                <a:gd name="T10" fmla="*/ 1 w 6"/>
                <a:gd name="T11" fmla="*/ 0 h 4"/>
                <a:gd name="T12" fmla="*/ 0 w 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4" y="4"/>
                    <a:pt x="5" y="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3" y="1"/>
                    <a:pt x="2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C2C0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122"/>
            <p:cNvSpPr>
              <a:spLocks/>
            </p:cNvSpPr>
            <p:nvPr/>
          </p:nvSpPr>
          <p:spPr bwMode="auto">
            <a:xfrm>
              <a:off x="2293938" y="2516188"/>
              <a:ext cx="63500" cy="311150"/>
            </a:xfrm>
            <a:custGeom>
              <a:avLst/>
              <a:gdLst>
                <a:gd name="T0" fmla="*/ 8 w 13"/>
                <a:gd name="T1" fmla="*/ 0 h 64"/>
                <a:gd name="T2" fmla="*/ 0 w 13"/>
                <a:gd name="T3" fmla="*/ 63 h 64"/>
                <a:gd name="T4" fmla="*/ 0 w 13"/>
                <a:gd name="T5" fmla="*/ 63 h 64"/>
                <a:gd name="T6" fmla="*/ 1 w 13"/>
                <a:gd name="T7" fmla="*/ 63 h 64"/>
                <a:gd name="T8" fmla="*/ 2 w 13"/>
                <a:gd name="T9" fmla="*/ 63 h 64"/>
                <a:gd name="T10" fmla="*/ 2 w 13"/>
                <a:gd name="T11" fmla="*/ 63 h 64"/>
                <a:gd name="T12" fmla="*/ 2 w 13"/>
                <a:gd name="T13" fmla="*/ 63 h 64"/>
                <a:gd name="T14" fmla="*/ 4 w 13"/>
                <a:gd name="T15" fmla="*/ 64 h 64"/>
                <a:gd name="T16" fmla="*/ 5 w 13"/>
                <a:gd name="T17" fmla="*/ 64 h 64"/>
                <a:gd name="T18" fmla="*/ 13 w 13"/>
                <a:gd name="T19" fmla="*/ 0 h 64"/>
                <a:gd name="T20" fmla="*/ 8 w 13"/>
                <a:gd name="T21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64">
                  <a:moveTo>
                    <a:pt x="8" y="0"/>
                  </a:moveTo>
                  <a:cubicBezTo>
                    <a:pt x="0" y="63"/>
                    <a:pt x="0" y="63"/>
                    <a:pt x="0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3"/>
                    <a:pt x="0" y="63"/>
                    <a:pt x="1" y="63"/>
                  </a:cubicBezTo>
                  <a:cubicBezTo>
                    <a:pt x="1" y="63"/>
                    <a:pt x="2" y="63"/>
                    <a:pt x="2" y="63"/>
                  </a:cubicBezTo>
                  <a:cubicBezTo>
                    <a:pt x="2" y="63"/>
                    <a:pt x="2" y="63"/>
                    <a:pt x="2" y="63"/>
                  </a:cubicBezTo>
                  <a:cubicBezTo>
                    <a:pt x="2" y="63"/>
                    <a:pt x="2" y="63"/>
                    <a:pt x="2" y="63"/>
                  </a:cubicBezTo>
                  <a:cubicBezTo>
                    <a:pt x="3" y="63"/>
                    <a:pt x="3" y="64"/>
                    <a:pt x="4" y="64"/>
                  </a:cubicBezTo>
                  <a:cubicBezTo>
                    <a:pt x="4" y="64"/>
                    <a:pt x="5" y="64"/>
                    <a:pt x="5" y="6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0" y="0"/>
                    <a:pt x="8" y="0"/>
                  </a:cubicBezTo>
                </a:path>
              </a:pathLst>
            </a:custGeom>
            <a:solidFill>
              <a:srgbClr val="F5EA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5" name="Freeform 123"/>
            <p:cNvSpPr>
              <a:spLocks noEditPoints="1"/>
            </p:cNvSpPr>
            <p:nvPr/>
          </p:nvSpPr>
          <p:spPr bwMode="auto">
            <a:xfrm>
              <a:off x="2298701" y="2822576"/>
              <a:ext cx="14288" cy="4763"/>
            </a:xfrm>
            <a:custGeom>
              <a:avLst/>
              <a:gdLst>
                <a:gd name="T0" fmla="*/ 2 w 3"/>
                <a:gd name="T1" fmla="*/ 0 h 1"/>
                <a:gd name="T2" fmla="*/ 3 w 3"/>
                <a:gd name="T3" fmla="*/ 1 h 1"/>
                <a:gd name="T4" fmla="*/ 3 w 3"/>
                <a:gd name="T5" fmla="*/ 1 h 1"/>
                <a:gd name="T6" fmla="*/ 2 w 3"/>
                <a:gd name="T7" fmla="*/ 0 h 1"/>
                <a:gd name="T8" fmla="*/ 0 w 3"/>
                <a:gd name="T9" fmla="*/ 0 h 1"/>
                <a:gd name="T10" fmla="*/ 0 w 3"/>
                <a:gd name="T11" fmla="*/ 0 h 1"/>
                <a:gd name="T12" fmla="*/ 1 w 3"/>
                <a:gd name="T13" fmla="*/ 0 h 1"/>
                <a:gd name="T14" fmla="*/ 1 w 3"/>
                <a:gd name="T15" fmla="*/ 0 h 1"/>
                <a:gd name="T16" fmla="*/ 0 w 3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0"/>
                    <a:pt x="2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DEC5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124"/>
            <p:cNvSpPr>
              <a:spLocks noEditPoints="1"/>
            </p:cNvSpPr>
            <p:nvPr/>
          </p:nvSpPr>
          <p:spPr bwMode="auto">
            <a:xfrm>
              <a:off x="2298701" y="2822576"/>
              <a:ext cx="14288" cy="4763"/>
            </a:xfrm>
            <a:custGeom>
              <a:avLst/>
              <a:gdLst>
                <a:gd name="T0" fmla="*/ 1 w 3"/>
                <a:gd name="T1" fmla="*/ 0 h 1"/>
                <a:gd name="T2" fmla="*/ 2 w 3"/>
                <a:gd name="T3" fmla="*/ 0 h 1"/>
                <a:gd name="T4" fmla="*/ 3 w 3"/>
                <a:gd name="T5" fmla="*/ 1 h 1"/>
                <a:gd name="T6" fmla="*/ 3 w 3"/>
                <a:gd name="T7" fmla="*/ 1 h 1"/>
                <a:gd name="T8" fmla="*/ 1 w 3"/>
                <a:gd name="T9" fmla="*/ 0 h 1"/>
                <a:gd name="T10" fmla="*/ 0 w 3"/>
                <a:gd name="T11" fmla="*/ 0 h 1"/>
                <a:gd name="T12" fmla="*/ 0 w 3"/>
                <a:gd name="T13" fmla="*/ 0 h 1"/>
                <a:gd name="T14" fmla="*/ 1 w 3"/>
                <a:gd name="T15" fmla="*/ 0 h 1"/>
                <a:gd name="T16" fmla="*/ 1 w 3"/>
                <a:gd name="T17" fmla="*/ 0 h 1"/>
                <a:gd name="T18" fmla="*/ 0 w 3"/>
                <a:gd name="T1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1"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E2CD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139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6" t="22244" r="4809" b="34078"/>
          <a:stretch/>
        </p:blipFill>
        <p:spPr bwMode="auto">
          <a:xfrm>
            <a:off x="3759201" y="3133725"/>
            <a:ext cx="5216326" cy="2352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888738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Z Technology_Global_Master_16_9_June_2017">
  <a:themeElements>
    <a:clrScheme name="AZ_PPT_GLOBAL_DESIGNFARBEN">
      <a:dk1>
        <a:srgbClr val="000000"/>
      </a:dk1>
      <a:lt1>
        <a:srgbClr val="FFFFFF"/>
      </a:lt1>
      <a:dk2>
        <a:srgbClr val="49648C"/>
      </a:dk2>
      <a:lt2>
        <a:srgbClr val="D4CDCD"/>
      </a:lt2>
      <a:accent1>
        <a:srgbClr val="96DCFA"/>
      </a:accent1>
      <a:accent2>
        <a:srgbClr val="CCDD61"/>
      </a:accent2>
      <a:accent3>
        <a:srgbClr val="EECCD5"/>
      </a:accent3>
      <a:accent4>
        <a:srgbClr val="FDD25C"/>
      </a:accent4>
      <a:accent5>
        <a:srgbClr val="FF934F"/>
      </a:accent5>
      <a:accent6>
        <a:srgbClr val="C0DDBD"/>
      </a:accent6>
      <a:hlink>
        <a:srgbClr val="003781"/>
      </a:hlink>
      <a:folHlink>
        <a:srgbClr val="5A3982"/>
      </a:folHlink>
    </a:clrScheme>
    <a:fontScheme name="Allianz_Arial_20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4F2F2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100"/>
          </a:spcBef>
          <a:spcAft>
            <a:spcPts val="100"/>
          </a:spcAft>
          <a:defRPr sz="1400" dirty="0" smtClean="0"/>
        </a:defPPr>
      </a:lstStyle>
    </a:spDef>
    <a:txDef>
      <a:spPr/>
      <a:bodyPr vert="horz" wrap="square" lIns="72000" tIns="72000" rIns="72000" bIns="72000" rtlCol="0">
        <a:spAutoFit/>
      </a:bodyPr>
      <a:lstStyle>
        <a:defPPr>
          <a:defRPr sz="1800" dirty="0" smtClean="0"/>
        </a:defPPr>
      </a:lstStyle>
    </a:txDef>
  </a:objectDefaults>
  <a:extraClrSchemeLst/>
  <a:custClrLst>
    <a:custClr name="rgb(90,83,96)">
      <a:srgbClr val="5A5360"/>
    </a:custClr>
    <a:custClr name="rgb(215,211,217)">
      <a:srgbClr val="D7D3D9"/>
    </a:custClr>
    <a:custClr name="rgb(90,57,130)">
      <a:srgbClr val="5A3982"/>
    </a:custClr>
    <a:custClr name="rgb(218,208,225)">
      <a:srgbClr val="DAD0E1"/>
    </a:custClr>
    <a:custClr name="rgb(91,93,48)">
      <a:srgbClr val="5B5D30"/>
    </a:custClr>
    <a:custClr name="rgb(212,213,200)">
      <a:srgbClr val="D4D5C8"/>
    </a:custClr>
    <a:custClr name="rgb(64,125,113)">
      <a:srgbClr val="407D71"/>
    </a:custClr>
    <a:custClr name="rgb(195,216,212)">
      <a:srgbClr val="C3D8D4"/>
    </a:custClr>
    <a:custClr name="rgb(73,100,140)">
      <a:srgbClr val="49648C"/>
    </a:custClr>
    <a:custClr name="rgb(202,212,222)">
      <a:srgbClr val="CAD4DE"/>
    </a:custClr>
    <a:custClr name="rgb(183,30,63)">
      <a:srgbClr val="B71E3F"/>
    </a:custClr>
    <a:custClr name="rgb(241,200,208)">
      <a:srgbClr val="F1C8D0"/>
    </a:custClr>
    <a:custClr name="rgb(0,125,140)">
      <a:srgbClr val="007D8C"/>
    </a:custClr>
    <a:custClr name="rgb(177,218,221)">
      <a:srgbClr val="B1DADD"/>
    </a:custClr>
    <a:custClr name="rgb(192,221,189)">
      <a:srgbClr val="C0DDBD"/>
    </a:custClr>
    <a:custClr name="rgb(223,238,222)">
      <a:srgbClr val="DFEEDE"/>
    </a:custClr>
    <a:custClr name="rgb(239,246,238)">
      <a:srgbClr val="EFF6EE"/>
    </a:custClr>
    <a:custClr name="rgb(234,207,192)">
      <a:srgbClr val="EACFC0"/>
    </a:custClr>
    <a:custClr name="rgb(243,229,223)">
      <a:srgbClr val="F3E5DF"/>
    </a:custClr>
    <a:custClr name="rgb(249,242,239)">
      <a:srgbClr val="F9F2EF"/>
    </a:custClr>
    <a:custClr name="rgb(212,205,205)">
      <a:srgbClr val="D4CDCD"/>
    </a:custClr>
    <a:custClr name="rgb(239,232,230)">
      <a:srgbClr val="EFE8E6"/>
    </a:custClr>
    <a:custClr name="rgb(248,244,242)">
      <a:srgbClr val="F8F4F2"/>
    </a:custClr>
    <a:custClr name="rgb(207,233,238)">
      <a:srgbClr val="CFE9EE"/>
    </a:custClr>
    <a:custClr name="rgb(230,244,246)">
      <a:srgbClr val="E6F4F6"/>
    </a:custClr>
    <a:custClr name="rgb(241,249,250)">
      <a:srgbClr val="F1F9FA"/>
    </a:custClr>
    <a:custClr name="rgb(235,225,191)">
      <a:srgbClr val="EBE1BF"/>
    </a:custClr>
    <a:custClr name="rgb(245,240,224)">
      <a:srgbClr val="F5F0E0"/>
    </a:custClr>
    <a:custClr name="rgb(250,247,239)">
      <a:srgbClr val="FAF7EF"/>
    </a:custClr>
    <a:custClr name="rgb(0,55,129)">
      <a:srgbClr val="003781"/>
    </a:custClr>
    <a:custClr name="rgb(238,204,213)">
      <a:srgbClr val="EECCD5"/>
    </a:custClr>
    <a:custClr name="rgb(246,229,234)">
      <a:srgbClr val="F6E5EA"/>
    </a:custClr>
    <a:custClr name="rgb(251,242,244)">
      <a:srgbClr val="FBF2F4"/>
    </a:custClr>
    <a:custClr name="rgb(219,211,189)">
      <a:srgbClr val="DBD3BD"/>
    </a:custClr>
    <a:custClr name="rgb(235,231,219)">
      <a:srgbClr val="EBE7DB"/>
    </a:custClr>
    <a:custClr name="rgb(245,243,237)">
      <a:srgbClr val="F5F3ED"/>
    </a:custClr>
    <a:custClr name="rgb(204,221,97)">
      <a:srgbClr val="CCDD61"/>
    </a:custClr>
    <a:custClr name="rgb(227,235,175)">
      <a:srgbClr val="E3EBAF"/>
    </a:custClr>
    <a:custClr name="rgb(150,220,250)">
      <a:srgbClr val="96DCFA"/>
    </a:custClr>
    <a:custClr name="rgb(193,235,251)">
      <a:srgbClr val="C1EBFB"/>
    </a:custClr>
    <a:custClr name="rgb(138,103,156)">
      <a:srgbClr val="8A679C"/>
    </a:custClr>
    <a:custClr name="rgb(225,207,234)">
      <a:srgbClr val="E1CFEA"/>
    </a:custClr>
    <a:custClr name="rgb(228,0,58)">
      <a:srgbClr val="E4003A"/>
    </a:custClr>
    <a:custClr name="rgb(247,199,195)">
      <a:srgbClr val="F7C7C3"/>
    </a:custClr>
    <a:custClr name="rgb(127,228,224)">
      <a:srgbClr val="7FE4E0"/>
    </a:custClr>
    <a:custClr name="rgb(195,232,231)">
      <a:srgbClr val="C3E8E7"/>
    </a:custClr>
    <a:custClr name="rgb(253,210,92)">
      <a:srgbClr val="FDD25C"/>
    </a:custClr>
    <a:custClr name="rgb(255,232,176)">
      <a:srgbClr val="FFE8B0"/>
    </a:custClr>
    <a:custClr name="rgb(255,147,79)">
      <a:srgbClr val="FF934F"/>
    </a:custClr>
    <a:custClr name="rgb(247,202,171)">
      <a:srgbClr val="F7CAAB"/>
    </a:custClr>
  </a:custClr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Control xmlns="http://schemas.microsoft.com/VisualStudio/2011/storyboarding/control">
  <Id Name="19e0966f-40cc-446e-a248-c10a673782a7" Revision="1" Stencil="System.MyShapes" StencilVersion="1.0"/>
</Control>
</file>

<file path=customXml/itemProps1.xml><?xml version="1.0" encoding="utf-8"?>
<ds:datastoreItem xmlns:ds="http://schemas.openxmlformats.org/officeDocument/2006/customXml" ds:itemID="{8D3225FD-C76F-4B0A-80B4-9CE389B8141C}">
  <ds:schemaRefs>
    <ds:schemaRef ds:uri="http://schemas.microsoft.com/VisualStudio/2011/storyboarding/contro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Z Technology_Global_Master_16_9_June_2017</Template>
  <TotalTime>0</TotalTime>
  <Words>285</Words>
  <Application>Microsoft Office PowerPoint</Application>
  <PresentationFormat>Custom</PresentationFormat>
  <Paragraphs>69</Paragraphs>
  <Slides>10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AZ Technology_Global_Master_16_9_June_2017</vt:lpstr>
      <vt:lpstr>think-cell Slide</vt:lpstr>
      <vt:lpstr>Service Portfolio Governance</vt:lpstr>
      <vt:lpstr>Shifts in portfolio complexity</vt:lpstr>
      <vt:lpstr>Service Portfolio Governance  - Proposed SaaS Solution </vt:lpstr>
      <vt:lpstr>Solution Overview</vt:lpstr>
      <vt:lpstr>Solution Overview</vt:lpstr>
      <vt:lpstr>DASHBOARD view – E.g., IDS</vt:lpstr>
      <vt:lpstr>IDS Service package DASHBOARD :: Data sourcing</vt:lpstr>
      <vt:lpstr>IDS :: Data sourcing :: GRIPS</vt:lpstr>
      <vt:lpstr>IDS :: Data sourcing :: GRIPS :: Contracts &amp; Documents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7-07-19T13:43:38Z</dcterms:created>
  <dcterms:modified xsi:type="dcterms:W3CDTF">2019-07-16T04:09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fs.IsStoryboard">
    <vt:bool>true</vt:bool>
  </property>
</Properties>
</file>